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heme/theme22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notesSlides/notesSlide1.xml" ContentType="application/vnd.openxmlformats-officedocument.presentationml.notesSlide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notesSlides/notesSlide2.xml" ContentType="application/vnd.openxmlformats-officedocument.presentationml.notesSlid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notesSlides/notesSlide3.xml" ContentType="application/vnd.openxmlformats-officedocument.presentationml.notesSlide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28"/>
  </p:notesMasterIdLst>
  <p:sldIdLst>
    <p:sldId id="1680" r:id="rId22"/>
    <p:sldId id="1854" r:id="rId23"/>
    <p:sldId id="1855" r:id="rId24"/>
    <p:sldId id="1856" r:id="rId25"/>
    <p:sldId id="1857" r:id="rId26"/>
    <p:sldId id="1858" r:id="rId27"/>
  </p:sldIdLst>
  <p:sldSz cx="10287000" cy="6858000" type="35mm"/>
  <p:notesSz cx="7010400" cy="9296400"/>
  <p:custDataLst>
    <p:tags r:id="rId2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1956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07277"/>
    <a:srgbClr val="FFE7E7"/>
    <a:srgbClr val="EBECED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152" autoAdjust="0"/>
    <p:restoredTop sz="83756" autoAdjust="0"/>
  </p:normalViewPr>
  <p:slideViewPr>
    <p:cSldViewPr snapToGrid="0" showGuides="1">
      <p:cViewPr>
        <p:scale>
          <a:sx n="110" d="100"/>
          <a:sy n="110" d="100"/>
        </p:scale>
        <p:origin x="-312" y="648"/>
      </p:cViewPr>
      <p:guideLst>
        <p:guide orient="horz" pos="73"/>
        <p:guide orient="horz" pos="913"/>
        <p:guide orient="horz" pos="1956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1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0588" y="696913"/>
            <a:ext cx="52292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9" rIns="93155" bIns="46579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55" tIns="46579" rIns="93155" bIns="465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341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341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201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79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3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5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5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2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2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0" y="1"/>
            <a:ext cx="10287000" cy="6858000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7242" y="4756453"/>
            <a:ext cx="5665595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77242" y="1706294"/>
            <a:ext cx="753326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77242" y="3385262"/>
            <a:ext cx="7533266" cy="246221"/>
          </a:xfrm>
        </p:spPr>
        <p:txBody>
          <a:bodyPr wrap="square">
            <a:spAutoFit/>
          </a:bodyPr>
          <a:lstStyle>
            <a:lvl1pPr algn="l"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ltGray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3"/>
          <p:cNvSpPr>
            <a:spLocks noChangeArrowheads="1"/>
          </p:cNvSpPr>
          <p:nvPr userDrawn="1"/>
        </p:nvSpPr>
        <p:spPr bwMode="gray">
          <a:xfrm>
            <a:off x="477242" y="6443655"/>
            <a:ext cx="5054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antander Holdings USA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17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700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1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7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6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49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8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9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8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1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0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4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image" Target="../media/image2.jpeg"/><Relationship Id="rId3" Type="http://schemas.openxmlformats.org/officeDocument/2006/relationships/theme" Target="../theme/theme21.xml"/><Relationship Id="rId21" Type="http://schemas.openxmlformats.org/officeDocument/2006/relationships/tags" Target="../tags/tag420.xml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87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1" Type="http://schemas.openxmlformats.org/officeDocument/2006/relationships/slideLayout" Target="../slideLayouts/slideLayout186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vmlDrawing" Target="../drawings/vmlDrawing19.v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33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jpeg"/><Relationship Id="rId5" Type="http://schemas.openxmlformats.org/officeDocument/2006/relationships/theme" Target="../theme/theme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0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846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49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54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55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59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6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7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8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2" descr="san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ltGray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ltGray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7305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73053" y="619608"/>
            <a:ext cx="93920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3" y="2022053"/>
            <a:ext cx="489475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/>
          <p:nvPr userDrawn="1"/>
        </p:nvGrpSpPr>
        <p:grpSpPr bwMode="auto">
          <a:xfrm>
            <a:off x="373053" y="5971743"/>
            <a:ext cx="9702557" cy="714433"/>
            <a:chOff x="182232" y="5971743"/>
            <a:chExt cx="9702557" cy="714433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182232" y="5971743"/>
              <a:ext cx="970255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182232" y="6532288"/>
              <a:ext cx="729724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785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71" name="Slide Number"/>
          <p:cNvSpPr txBox="1">
            <a:spLocks/>
          </p:cNvSpPr>
          <p:nvPr userDrawn="1"/>
        </p:nvSpPr>
        <p:spPr bwMode="auto">
          <a:xfrm>
            <a:off x="9839968" y="225413"/>
            <a:ext cx="235642" cy="2308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500" b="1" smtClean="0">
                <a:solidFill>
                  <a:srgbClr val="FF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grpSp>
        <p:nvGrpSpPr>
          <p:cNvPr id="72" name="LegendBoxes" hidden="1"/>
          <p:cNvGrpSpPr>
            <a:grpSpLocks/>
          </p:cNvGrpSpPr>
          <p:nvPr userDrawn="1"/>
        </p:nvGrpSpPr>
        <p:grpSpPr bwMode="auto">
          <a:xfrm>
            <a:off x="9001539" y="368570"/>
            <a:ext cx="763588" cy="996951"/>
            <a:chOff x="4936" y="176"/>
            <a:chExt cx="481" cy="628"/>
          </a:xfrm>
        </p:grpSpPr>
        <p:sp>
          <p:nvSpPr>
            <p:cNvPr id="7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1" name="LegendLines" hidden="1"/>
          <p:cNvGrpSpPr>
            <a:grpSpLocks/>
          </p:cNvGrpSpPr>
          <p:nvPr userDrawn="1"/>
        </p:nvGrpSpPr>
        <p:grpSpPr bwMode="auto">
          <a:xfrm>
            <a:off x="8693564" y="368570"/>
            <a:ext cx="1071563" cy="730251"/>
            <a:chOff x="4750" y="176"/>
            <a:chExt cx="675" cy="460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8" name="McKSticker" hidden="1"/>
          <p:cNvGrpSpPr/>
          <p:nvPr userDrawn="1"/>
        </p:nvGrpSpPr>
        <p:grpSpPr bwMode="auto">
          <a:xfrm>
            <a:off x="8698232" y="368570"/>
            <a:ext cx="1066895" cy="212366"/>
            <a:chOff x="7673880" y="285750"/>
            <a:chExt cx="1066895" cy="212366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LegendMoons" hidden="1"/>
          <p:cNvGrpSpPr/>
          <p:nvPr userDrawn="1"/>
        </p:nvGrpSpPr>
        <p:grpSpPr bwMode="auto">
          <a:xfrm>
            <a:off x="8934697" y="368570"/>
            <a:ext cx="830430" cy="1306516"/>
            <a:chOff x="6655594" y="273840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7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8243595" y="2029270"/>
            <a:ext cx="254000" cy="254000"/>
            <a:chOff x="1600" y="1600"/>
            <a:chExt cx="160" cy="160"/>
          </a:xfrm>
        </p:grpSpPr>
        <p:sp>
          <p:nvSpPr>
            <p:cNvPr id="5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5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03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78693" rtl="0" eaLnBrk="1" fontAlgn="base" hangingPunct="1">
        <a:spcBef>
          <a:spcPct val="0"/>
        </a:spcBef>
        <a:spcAft>
          <a:spcPct val="0"/>
        </a:spcAft>
        <a:tabLst>
          <a:tab pos="29499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99757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99516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99274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99033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11704" indent="-209968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99757" indent="-28632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71551" indent="-170056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75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516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927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9033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791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8548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830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806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1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800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1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918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14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3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634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1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12" Type="http://schemas.openxmlformats.org/officeDocument/2006/relationships/tags" Target="../tags/tag435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29.xml"/><Relationship Id="rId11" Type="http://schemas.openxmlformats.org/officeDocument/2006/relationships/tags" Target="../tags/tag434.xml"/><Relationship Id="rId5" Type="http://schemas.openxmlformats.org/officeDocument/2006/relationships/tags" Target="../tags/tag428.xml"/><Relationship Id="rId15" Type="http://schemas.openxmlformats.org/officeDocument/2006/relationships/image" Target="../media/image17.emf"/><Relationship Id="rId10" Type="http://schemas.openxmlformats.org/officeDocument/2006/relationships/tags" Target="../tags/tag433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37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7" Type="http://schemas.openxmlformats.org/officeDocument/2006/relationships/image" Target="../media/image18.emf"/><Relationship Id="rId2" Type="http://schemas.openxmlformats.org/officeDocument/2006/relationships/tags" Target="../tags/tag43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441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43.xml"/><Relationship Id="rId4" Type="http://schemas.openxmlformats.org/officeDocument/2006/relationships/tags" Target="../tags/tag442.xml"/><Relationship Id="rId9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445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44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448.xml"/><Relationship Id="rId7" Type="http://schemas.openxmlformats.org/officeDocument/2006/relationships/oleObject" Target="../embeddings/oleObject27.bin"/><Relationship Id="rId2" Type="http://schemas.openxmlformats.org/officeDocument/2006/relationships/tags" Target="../tags/tag447.xml"/><Relationship Id="rId1" Type="http://schemas.openxmlformats.org/officeDocument/2006/relationships/vmlDrawing" Target="../drawings/vmlDrawing27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27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759" name="think-cell Slide" r:id="rId14" imgW="442" imgH="440" progId="TCLayout.ActiveDocument.1">
                  <p:embed/>
                </p:oleObj>
              </mc:Choice>
              <mc:Fallback>
                <p:oleObj name="think-cell Slide" r:id="rId14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52500" eaLnBrk="0" hangingPunct="0">
              <a:spcBef>
                <a:spcPct val="0"/>
              </a:spcBef>
              <a:spcAft>
                <a:spcPct val="0"/>
              </a:spcAft>
            </a:pPr>
            <a:endParaRPr lang="en-US" sz="15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/>
              <a:cs typeface="Arial"/>
              <a:sym typeface="Arial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03588" y="1714500"/>
            <a:ext cx="3679825" cy="381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b="1" dirty="0" smtClean="0">
                <a:solidFill>
                  <a:schemeClr val="bg1"/>
                </a:solidFill>
              </a:rPr>
              <a:t>Risk Transformation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hlinkClick r:id="" action="ppaction://noaction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03588" y="2095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Model Develop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Text Placeholder 2">
            <a:hlinkClick r:id="" action="ppaction://noaction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03588" y="2476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Model Risk Managemen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Text Placeholder 2">
            <a:hlinkClick r:id="" action="ppaction://noaction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03588" y="2857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Operational Risk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ext Placeholder 2">
            <a:hlinkClick r:id="" action="ppaction://noaction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03588" y="3238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Finance Transform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03588" y="3619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Data and I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303588" y="4000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CCA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hlinkClick r:id="" action="ppaction://noaction"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03588" y="4381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IHC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hlinkClick r:id="" action="ppaction://noaction"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03588" y="4762500"/>
            <a:ext cx="36798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76200" rIns="0" bIns="76200" numCol="1" spcCol="0" anchor="ctr" anchorCtr="0" compatLnSpc="1">
            <a:prstTxWarp prst="textNoShape">
              <a:avLst/>
            </a:prstTxWarp>
            <a:noAutofit/>
          </a:bodyPr>
          <a:lstStyle>
            <a:lvl1pPr marL="355600" indent="-355600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6600" indent="-201613" algn="l" rtl="0" eaLnBrk="1" fontAlgn="base" hangingPunct="1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  <a:latin typeface="+mn-lt"/>
                <a:cs typeface="+mn-cs"/>
              </a:defRPr>
            </a:lvl2pPr>
            <a:lvl3pPr marL="1187450" indent="-1968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  <a:latin typeface="+mn-lt"/>
                <a:cs typeface="+mn-cs"/>
              </a:defRPr>
            </a:lvl3pPr>
            <a:lvl4pPr marL="1524000" indent="-14605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+mn-lt"/>
                <a:cs typeface="+mn-cs"/>
              </a:defRPr>
            </a:lvl4pPr>
            <a:lvl5pPr marL="19685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5pPr>
            <a:lvl6pPr marL="24257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6pPr>
            <a:lvl7pPr marL="28829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7pPr>
            <a:lvl8pPr marL="33401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8pPr>
            <a:lvl9pPr marL="3797300" indent="-88900" algn="l" rtl="0" eaLnBrk="1" fontAlgn="base" hangingPunct="1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Clr>
                <a:schemeClr val="tx2"/>
              </a:buClr>
              <a:buNone/>
            </a:pPr>
            <a:r>
              <a:rPr lang="en-US" dirty="0" smtClean="0">
                <a:solidFill>
                  <a:schemeClr val="tx1"/>
                </a:solidFill>
                <a:sym typeface="+mn-lt"/>
              </a:rPr>
              <a:t>ELS (included in Finance Transformation)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53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94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Risk Transformation </a:t>
            </a:r>
            <a:r>
              <a:rPr lang="en-US" dirty="0" smtClean="0"/>
              <a:t>- Summary</a:t>
            </a:r>
            <a:endParaRPr lang="en-US" dirty="0"/>
          </a:p>
        </p:txBody>
      </p:sp>
      <p:sp>
        <p:nvSpPr>
          <p:cNvPr id="98" name="Rectangle 97"/>
          <p:cNvSpPr>
            <a:spLocks/>
          </p:cNvSpPr>
          <p:nvPr/>
        </p:nvSpPr>
        <p:spPr bwMode="gray">
          <a:xfrm>
            <a:off x="5376458" y="722748"/>
            <a:ext cx="4726931" cy="268920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3998" tIns="18000" rIns="18000" bIns="45718" rtlCol="0" anchor="ctr">
            <a:noAutofit/>
          </a:bodyPr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5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99" name="Rectangle 98"/>
          <p:cNvSpPr>
            <a:spLocks/>
          </p:cNvSpPr>
          <p:nvPr/>
        </p:nvSpPr>
        <p:spPr bwMode="gray">
          <a:xfrm>
            <a:off x="5404708" y="3478311"/>
            <a:ext cx="4726931" cy="2554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3998" tIns="18000" rIns="18000" bIns="45718" rtlCol="0" anchor="ctr">
            <a:noAutofit/>
          </a:bodyPr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5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100" name="TextBox 99"/>
          <p:cNvSpPr txBox="1">
            <a:spLocks/>
          </p:cNvSpPr>
          <p:nvPr/>
        </p:nvSpPr>
        <p:spPr bwMode="gray">
          <a:xfrm>
            <a:off x="5466141" y="736801"/>
            <a:ext cx="3704899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Key deliverables</a:t>
            </a:r>
          </a:p>
        </p:txBody>
      </p:sp>
      <p:sp>
        <p:nvSpPr>
          <p:cNvPr id="101" name="TextBox 100"/>
          <p:cNvSpPr txBox="1">
            <a:spLocks/>
          </p:cNvSpPr>
          <p:nvPr/>
        </p:nvSpPr>
        <p:spPr bwMode="gray">
          <a:xfrm>
            <a:off x="5466141" y="3502267"/>
            <a:ext cx="4604064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Key </a:t>
            </a:r>
            <a:r>
              <a:rPr lang="en-US" sz="950" b="1" dirty="0" smtClean="0"/>
              <a:t>dependencies</a:t>
            </a:r>
            <a:endParaRPr lang="en-US" sz="950" b="1" dirty="0"/>
          </a:p>
        </p:txBody>
      </p:sp>
      <p:cxnSp>
        <p:nvCxnSpPr>
          <p:cNvPr id="102" name="Straight Connector 101"/>
          <p:cNvCxnSpPr>
            <a:cxnSpLocks/>
          </p:cNvCxnSpPr>
          <p:nvPr/>
        </p:nvCxnSpPr>
        <p:spPr bwMode="gray">
          <a:xfrm>
            <a:off x="5466141" y="3662977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cxnSpLocks/>
          </p:cNvCxnSpPr>
          <p:nvPr/>
        </p:nvCxnSpPr>
        <p:spPr bwMode="gray">
          <a:xfrm>
            <a:off x="5466141" y="894415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TextBox 103"/>
          <p:cNvSpPr txBox="1">
            <a:spLocks/>
          </p:cNvSpPr>
          <p:nvPr/>
        </p:nvSpPr>
        <p:spPr bwMode="gray">
          <a:xfrm>
            <a:off x="9280907" y="736801"/>
            <a:ext cx="789298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Due by</a:t>
            </a:r>
          </a:p>
        </p:txBody>
      </p:sp>
      <p:grpSp>
        <p:nvGrpSpPr>
          <p:cNvPr id="105" name="Group 104"/>
          <p:cNvGrpSpPr/>
          <p:nvPr/>
        </p:nvGrpSpPr>
        <p:grpSpPr>
          <a:xfrm>
            <a:off x="155362" y="722748"/>
            <a:ext cx="5154887" cy="5309753"/>
            <a:chOff x="155362" y="722747"/>
            <a:chExt cx="5154887" cy="3968858"/>
          </a:xfrm>
        </p:grpSpPr>
        <p:sp>
          <p:nvSpPr>
            <p:cNvPr id="106" name="TextBox 4"/>
            <p:cNvSpPr txBox="1"/>
            <p:nvPr>
              <p:custDataLst>
                <p:tags r:id="rId3"/>
              </p:custDataLst>
            </p:nvPr>
          </p:nvSpPr>
          <p:spPr bwMode="gray">
            <a:xfrm>
              <a:off x="155362" y="722747"/>
              <a:ext cx="5154887" cy="1197482"/>
            </a:xfrm>
            <a:prstGeom prst="roundRect">
              <a:avLst>
                <a:gd name="adj" fmla="val 842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endParaRPr lang="en-US" sz="950" dirty="0"/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55362" y="1986585"/>
              <a:ext cx="5154887" cy="142537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3998" tIns="18000" rIns="18000" bIns="45718" rtlCol="0" anchor="ctr">
              <a:noAutofit/>
            </a:bodyPr>
            <a:lstStyle/>
            <a:p>
              <a:pPr marL="265100" indent="-258751" algn="ctr" defTabSz="952453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5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sp>
          <p:nvSpPr>
            <p:cNvPr id="108" name="TextBox 107"/>
            <p:cNvSpPr txBox="1">
              <a:spLocks/>
            </p:cNvSpPr>
            <p:nvPr/>
          </p:nvSpPr>
          <p:spPr bwMode="gray">
            <a:xfrm>
              <a:off x="224831" y="2025925"/>
              <a:ext cx="5015949" cy="10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/>
                <a:t>Sub-workstreams in Risk Transformation</a:t>
              </a:r>
            </a:p>
          </p:txBody>
        </p:sp>
        <p:cxnSp>
          <p:nvCxnSpPr>
            <p:cNvPr id="109" name="Straight Connector 108"/>
            <p:cNvCxnSpPr>
              <a:cxnSpLocks/>
            </p:cNvCxnSpPr>
            <p:nvPr/>
          </p:nvCxnSpPr>
          <p:spPr bwMode="gray">
            <a:xfrm>
              <a:off x="224831" y="2147178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0" name="Rectangle 109"/>
            <p:cNvSpPr>
              <a:spLocks/>
            </p:cNvSpPr>
            <p:nvPr/>
          </p:nvSpPr>
          <p:spPr bwMode="gray">
            <a:xfrm>
              <a:off x="155362" y="3478311"/>
              <a:ext cx="5154887" cy="121329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3998" tIns="18000" rIns="18000" bIns="45718" rtlCol="0" anchor="ctr">
              <a:noAutofit/>
            </a:bodyPr>
            <a:lstStyle/>
            <a:p>
              <a:pPr marL="265100" indent="-258751" algn="ctr" defTabSz="952453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5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sp>
          <p:nvSpPr>
            <p:cNvPr id="135" name="TextBox 134"/>
            <p:cNvSpPr txBox="1">
              <a:spLocks/>
            </p:cNvSpPr>
            <p:nvPr/>
          </p:nvSpPr>
          <p:spPr bwMode="gray">
            <a:xfrm>
              <a:off x="224831" y="777261"/>
              <a:ext cx="5015949" cy="10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 smtClean="0"/>
                <a:t>Summary of FRB feedback</a:t>
              </a:r>
            </a:p>
          </p:txBody>
        </p:sp>
        <p:cxnSp>
          <p:nvCxnSpPr>
            <p:cNvPr id="136" name="Straight Connector 135"/>
            <p:cNvCxnSpPr>
              <a:cxnSpLocks/>
            </p:cNvCxnSpPr>
            <p:nvPr/>
          </p:nvCxnSpPr>
          <p:spPr bwMode="gray">
            <a:xfrm>
              <a:off x="224831" y="894415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7" name="TextBox 136"/>
            <p:cNvSpPr txBox="1">
              <a:spLocks/>
            </p:cNvSpPr>
            <p:nvPr/>
          </p:nvSpPr>
          <p:spPr bwMode="gray">
            <a:xfrm>
              <a:off x="224831" y="3539186"/>
              <a:ext cx="5015949" cy="109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 smtClean="0"/>
                <a:t>Potential execution risks</a:t>
              </a:r>
              <a:endParaRPr lang="en-US" sz="950" b="1" dirty="0"/>
            </a:p>
          </p:txBody>
        </p:sp>
        <p:cxnSp>
          <p:nvCxnSpPr>
            <p:cNvPr id="138" name="Straight Connector 137"/>
            <p:cNvCxnSpPr>
              <a:cxnSpLocks/>
            </p:cNvCxnSpPr>
            <p:nvPr/>
          </p:nvCxnSpPr>
          <p:spPr bwMode="gray">
            <a:xfrm>
              <a:off x="224831" y="3662977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9" name="TextBox 138"/>
            <p:cNvSpPr txBox="1">
              <a:spLocks/>
            </p:cNvSpPr>
            <p:nvPr/>
          </p:nvSpPr>
          <p:spPr bwMode="gray">
            <a:xfrm>
              <a:off x="224831" y="917933"/>
              <a:ext cx="5015949" cy="721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Risk management framework is not sufficiently developed to provide full subsidiary oversight and support capital adequacy framework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Lack of aligned enterprise-wide and legal entity specific Risk Appetite Statements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Risk </a:t>
              </a:r>
              <a:r>
                <a:rPr lang="en-US" sz="950" dirty="0"/>
                <a:t>identification process does not identify </a:t>
              </a:r>
              <a:r>
                <a:rPr lang="en-US" sz="950" dirty="0" smtClean="0"/>
                <a:t>nor appropriately account for all </a:t>
              </a:r>
              <a:r>
                <a:rPr lang="en-US" sz="950" dirty="0"/>
                <a:t>risks </a:t>
              </a:r>
              <a:r>
                <a:rPr lang="en-US" sz="950" dirty="0" smtClean="0"/>
                <a:t>when </a:t>
              </a:r>
              <a:r>
                <a:rPr lang="en-US" sz="950" dirty="0"/>
                <a:t>assessing capital </a:t>
              </a:r>
              <a:r>
                <a:rPr lang="en-US" sz="950" dirty="0" smtClean="0"/>
                <a:t>needs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Lack of process </a:t>
              </a:r>
              <a:r>
                <a:rPr lang="en-US" sz="950" dirty="0"/>
                <a:t>to consider early warning indicators in the </a:t>
              </a:r>
              <a:r>
                <a:rPr lang="en-US" sz="950" dirty="0" smtClean="0"/>
                <a:t>stress scenarios</a:t>
              </a:r>
              <a:endParaRPr lang="en-US" sz="950" dirty="0"/>
            </a:p>
          </p:txBody>
        </p:sp>
        <p:sp>
          <p:nvSpPr>
            <p:cNvPr id="140" name="TextBox 139"/>
            <p:cNvSpPr txBox="1">
              <a:spLocks/>
            </p:cNvSpPr>
            <p:nvPr/>
          </p:nvSpPr>
          <p:spPr bwMode="gray">
            <a:xfrm>
              <a:off x="224831" y="2172970"/>
              <a:ext cx="5015949" cy="1202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governance and organization:</a:t>
              </a:r>
              <a:r>
                <a:rPr lang="en-US" sz="950" dirty="0" smtClean="0"/>
                <a:t> organizational structure of risk management to enforce the risk appetite statement, and oversight by the SHUSA Boards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appetite:</a:t>
              </a:r>
              <a:r>
                <a:rPr lang="en-US" sz="950" dirty="0" smtClean="0"/>
                <a:t> </a:t>
              </a:r>
              <a:r>
                <a:rPr lang="en-US" sz="950" dirty="0"/>
                <a:t>establish and communicate Board </a:t>
              </a:r>
              <a:r>
                <a:rPr lang="en-US" sz="950" dirty="0" smtClean="0"/>
                <a:t>approved </a:t>
              </a:r>
              <a:r>
                <a:rPr lang="en-US" sz="950" dirty="0"/>
                <a:t>risk appetite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ID &amp; measurement:</a:t>
              </a:r>
              <a:r>
                <a:rPr lang="en-US" sz="950" dirty="0" smtClean="0"/>
                <a:t> </a:t>
              </a:r>
              <a:r>
                <a:rPr lang="en-US" sz="950" dirty="0"/>
                <a:t>tools and processes to quantify the enterprise’s </a:t>
              </a:r>
              <a:r>
                <a:rPr lang="en-US" sz="950" dirty="0" smtClean="0"/>
                <a:t>risks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</a:t>
              </a:r>
              <a:r>
                <a:rPr lang="en-US" sz="950" b="1" dirty="0"/>
                <a:t>management </a:t>
              </a:r>
              <a:r>
                <a:rPr lang="en-US" sz="950" b="1" dirty="0" smtClean="0"/>
                <a:t>processes:</a:t>
              </a:r>
              <a:r>
                <a:rPr lang="en-US" sz="950" dirty="0" smtClean="0"/>
                <a:t> </a:t>
              </a:r>
              <a:r>
                <a:rPr lang="en-US" sz="950" dirty="0"/>
                <a:t>measurement and management of the enterprise’s </a:t>
              </a:r>
              <a:r>
                <a:rPr lang="en-US" sz="950" dirty="0" smtClean="0"/>
                <a:t>risks and application to strategic business decisions</a:t>
              </a:r>
              <a:endParaRPr lang="en-US" sz="950" dirty="0"/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/>
                <a:t>Risk </a:t>
              </a:r>
              <a:r>
                <a:rPr lang="en-US" sz="950" b="1" dirty="0" smtClean="0"/>
                <a:t>monitoring / Risk reporting:</a:t>
              </a:r>
              <a:r>
                <a:rPr lang="en-US" sz="950" dirty="0" smtClean="0"/>
                <a:t> summarize enterprise’s key risks for internal </a:t>
              </a:r>
              <a:r>
                <a:rPr lang="en-US" sz="950" dirty="0"/>
                <a:t>and external </a:t>
              </a:r>
              <a:r>
                <a:rPr lang="en-US" sz="950" dirty="0" smtClean="0"/>
                <a:t>stakeholders</a:t>
              </a:r>
              <a:endParaRPr lang="en-US" sz="950" dirty="0"/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>
                  <a:solidFill>
                    <a:srgbClr val="FF0000"/>
                  </a:solidFill>
                </a:rPr>
                <a:t>Risk data &amp; </a:t>
              </a:r>
              <a:r>
                <a:rPr lang="en-US" sz="950" b="1" dirty="0" smtClean="0">
                  <a:solidFill>
                    <a:srgbClr val="FF0000"/>
                  </a:solidFill>
                </a:rPr>
                <a:t>systems:</a:t>
              </a:r>
              <a:r>
                <a:rPr lang="en-US" sz="950" dirty="0" smtClean="0">
                  <a:solidFill>
                    <a:srgbClr val="FF0000"/>
                  </a:solidFill>
                </a:rPr>
                <a:t> IT </a:t>
              </a:r>
              <a:r>
                <a:rPr lang="en-US" sz="950" dirty="0">
                  <a:solidFill>
                    <a:srgbClr val="FF0000"/>
                  </a:solidFill>
                </a:rPr>
                <a:t>architecture to support effective risk </a:t>
              </a:r>
              <a:r>
                <a:rPr lang="en-US" sz="950" dirty="0" smtClean="0">
                  <a:solidFill>
                    <a:srgbClr val="FF0000"/>
                  </a:solidFill>
                </a:rPr>
                <a:t>management (integration with IT </a:t>
              </a:r>
              <a:r>
                <a:rPr lang="en-US" sz="950" dirty="0" err="1" smtClean="0">
                  <a:solidFill>
                    <a:srgbClr val="FF0000"/>
                  </a:solidFill>
                </a:rPr>
                <a:t>workstream</a:t>
              </a:r>
              <a:r>
                <a:rPr lang="en-US" sz="950" dirty="0" smtClean="0">
                  <a:solidFill>
                    <a:srgbClr val="FF0000"/>
                  </a:solidFill>
                </a:rPr>
                <a:t> TBC)</a:t>
              </a:r>
              <a:endParaRPr lang="en-US" sz="950" dirty="0">
                <a:solidFill>
                  <a:srgbClr val="FF0000"/>
                </a:solidFill>
              </a:endParaRP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 bwMode="gray">
            <a:xfrm>
              <a:off x="224831" y="3684742"/>
              <a:ext cx="5015949" cy="8905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>
                  <a:solidFill>
                    <a:srgbClr val="00B050"/>
                  </a:solidFill>
                </a:rPr>
                <a:t>D</a:t>
              </a:r>
              <a:r>
                <a:rPr lang="en-US" sz="950" dirty="0" smtClean="0">
                  <a:solidFill>
                    <a:srgbClr val="00B050"/>
                  </a:solidFill>
                </a:rPr>
                <a:t>ata</a:t>
              </a:r>
              <a:r>
                <a:rPr lang="en-US" sz="950" dirty="0" smtClean="0">
                  <a:solidFill>
                    <a:srgbClr val="FF0000"/>
                  </a:solidFill>
                </a:rPr>
                <a:t> </a:t>
              </a:r>
              <a:r>
                <a:rPr lang="en-US" sz="950" dirty="0">
                  <a:solidFill>
                    <a:srgbClr val="FF0000"/>
                  </a:solidFill>
                </a:rPr>
                <a:t>availability and data quality across enterprise  </a:t>
              </a:r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 smtClean="0">
                  <a:solidFill>
                    <a:srgbClr val="FF0000"/>
                  </a:solidFill>
                </a:rPr>
                <a:t>Management </a:t>
              </a:r>
              <a:r>
                <a:rPr lang="en-US" sz="950" dirty="0">
                  <a:solidFill>
                    <a:srgbClr val="FF0000"/>
                  </a:solidFill>
                </a:rPr>
                <a:t>of dependencies and related activities spanning multiple Risk workstreams (e.g. RAS, target operating model, reporting framework and templates) </a:t>
              </a:r>
              <a:endParaRPr lang="en-US" sz="950" dirty="0" smtClean="0">
                <a:solidFill>
                  <a:srgbClr val="FF0000"/>
                </a:solidFill>
              </a:endParaRPr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>
                  <a:solidFill>
                    <a:srgbClr val="0070C0"/>
                  </a:solidFill>
                </a:rPr>
                <a:t>Execution risk due to </a:t>
              </a:r>
              <a:r>
                <a:rPr lang="en-US" sz="950" dirty="0" smtClean="0">
                  <a:solidFill>
                    <a:srgbClr val="0070C0"/>
                  </a:solidFill>
                </a:rPr>
                <a:t>effective </a:t>
              </a:r>
              <a:r>
                <a:rPr lang="en-US" sz="950" dirty="0">
                  <a:solidFill>
                    <a:srgbClr val="0070C0"/>
                  </a:solidFill>
                </a:rPr>
                <a:t>transfer of knowledge and capabilities from external resources / </a:t>
              </a:r>
              <a:r>
                <a:rPr lang="en-US" sz="950" dirty="0" smtClean="0">
                  <a:solidFill>
                    <a:srgbClr val="0070C0"/>
                  </a:solidFill>
                </a:rPr>
                <a:t>consultants</a:t>
              </a:r>
              <a:endParaRPr lang="en-US" sz="950" dirty="0">
                <a:solidFill>
                  <a:srgbClr val="0070C0"/>
                </a:solidFill>
              </a:endParaRPr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>
                  <a:solidFill>
                    <a:srgbClr val="0070C0"/>
                  </a:solidFill>
                </a:rPr>
                <a:t>Staffing and skills requirements of the Target Operating Model will be determined for all three lines of defense during the implementation planning process; significant gaps may affect deliverables in years 2-3</a:t>
              </a:r>
            </a:p>
          </p:txBody>
        </p:sp>
      </p:grpSp>
      <p:sp>
        <p:nvSpPr>
          <p:cNvPr id="142" name="TextBox 141"/>
          <p:cNvSpPr txBox="1"/>
          <p:nvPr/>
        </p:nvSpPr>
        <p:spPr bwMode="gray">
          <a:xfrm>
            <a:off x="5466141" y="3684742"/>
            <a:ext cx="4558479" cy="2251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Model Development: </a:t>
            </a:r>
            <a:r>
              <a:rPr lang="en-US" sz="950" dirty="0"/>
              <a:t>Development of commercial ratings models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Model Risk Management: </a:t>
            </a:r>
            <a:r>
              <a:rPr lang="en-US" sz="950" dirty="0"/>
              <a:t>Validation of commercial ratings models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Finance: </a:t>
            </a:r>
            <a:endParaRPr lang="en-US" sz="950" b="1" dirty="0" smtClean="0"/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Liquidity Data Mart and tools to support analytics process by second line of defense liquidity risk management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Implementation </a:t>
            </a:r>
            <a:r>
              <a:rPr lang="en-US" sz="950" dirty="0">
                <a:solidFill>
                  <a:srgbClr val="000000"/>
                </a:solidFill>
              </a:rPr>
              <a:t>of the TOM across IHC entities to support LRM Framework implementation including stress testing scenarios and LST calculations (stressed inflows/outflows &gt;90 days, non-maturity deposits</a:t>
            </a:r>
            <a:r>
              <a:rPr lang="en-US" sz="950" dirty="0" smtClean="0">
                <a:solidFill>
                  <a:srgbClr val="000000"/>
                </a:solidFill>
              </a:rPr>
              <a:t>)</a:t>
            </a:r>
            <a:endParaRPr lang="en-US" sz="950" dirty="0">
              <a:solidFill>
                <a:srgbClr val="000000"/>
              </a:solidFill>
            </a:endParaRP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Data &amp; IT</a:t>
            </a:r>
            <a:r>
              <a:rPr lang="en-US" sz="950" dirty="0"/>
              <a:t>: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IT </a:t>
            </a:r>
            <a:r>
              <a:rPr lang="en-US" sz="950" dirty="0">
                <a:solidFill>
                  <a:srgbClr val="000000"/>
                </a:solidFill>
              </a:rPr>
              <a:t>development to support Commercial Risk Rating implementation / embedding in relevant processes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rgbClr val="000000"/>
                </a:solidFill>
              </a:rPr>
              <a:t> IT development for RAS, Risk </a:t>
            </a:r>
            <a:r>
              <a:rPr lang="en-US" sz="950" dirty="0" smtClean="0">
                <a:solidFill>
                  <a:srgbClr val="000000"/>
                </a:solidFill>
              </a:rPr>
              <a:t>ID </a:t>
            </a:r>
            <a:r>
              <a:rPr lang="en-US" sz="950" dirty="0">
                <a:solidFill>
                  <a:srgbClr val="000000"/>
                </a:solidFill>
              </a:rPr>
              <a:t>and Risk reporting (pending planned definition of business/data requirements)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 smtClean="0"/>
              <a:t>First </a:t>
            </a:r>
            <a:r>
              <a:rPr lang="en-US" sz="950" b="1" dirty="0"/>
              <a:t>Line: </a:t>
            </a:r>
            <a:r>
              <a:rPr lang="en-US" sz="950" dirty="0"/>
              <a:t>Input to Material Risk Program (business line / segment Material Risk Inventories</a:t>
            </a:r>
            <a:r>
              <a:rPr lang="en-US" sz="950" dirty="0" smtClean="0"/>
              <a:t>)</a:t>
            </a:r>
            <a:endParaRPr lang="en-US" sz="950" dirty="0"/>
          </a:p>
        </p:txBody>
      </p:sp>
      <p:cxnSp>
        <p:nvCxnSpPr>
          <p:cNvPr id="143" name="Straight Connector 142"/>
          <p:cNvCxnSpPr>
            <a:cxnSpLocks/>
          </p:cNvCxnSpPr>
          <p:nvPr/>
        </p:nvCxnSpPr>
        <p:spPr bwMode="gray">
          <a:xfrm>
            <a:off x="5447091" y="1507093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/>
          <p:cNvCxnSpPr>
            <a:cxnSpLocks/>
          </p:cNvCxnSpPr>
          <p:nvPr/>
        </p:nvCxnSpPr>
        <p:spPr bwMode="gray">
          <a:xfrm>
            <a:off x="5447127" y="168754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>
            <a:cxnSpLocks/>
          </p:cNvCxnSpPr>
          <p:nvPr/>
        </p:nvCxnSpPr>
        <p:spPr bwMode="gray">
          <a:xfrm>
            <a:off x="5461492" y="1859727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>
            <a:cxnSpLocks/>
          </p:cNvCxnSpPr>
          <p:nvPr/>
        </p:nvCxnSpPr>
        <p:spPr bwMode="gray">
          <a:xfrm>
            <a:off x="5452584" y="2040303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>
            <a:cxnSpLocks/>
          </p:cNvCxnSpPr>
          <p:nvPr/>
        </p:nvCxnSpPr>
        <p:spPr bwMode="gray">
          <a:xfrm>
            <a:off x="5459791" y="2521908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/>
          <p:cNvCxnSpPr>
            <a:cxnSpLocks/>
          </p:cNvCxnSpPr>
          <p:nvPr/>
        </p:nvCxnSpPr>
        <p:spPr bwMode="gray">
          <a:xfrm>
            <a:off x="5466141" y="2877189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>
            <a:cxnSpLocks/>
          </p:cNvCxnSpPr>
          <p:nvPr/>
        </p:nvCxnSpPr>
        <p:spPr bwMode="gray">
          <a:xfrm>
            <a:off x="5466141" y="304469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/>
          <p:cNvCxnSpPr>
            <a:cxnSpLocks/>
          </p:cNvCxnSpPr>
          <p:nvPr/>
        </p:nvCxnSpPr>
        <p:spPr bwMode="gray">
          <a:xfrm>
            <a:off x="5466141" y="342111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54" name="Group 153"/>
          <p:cNvGrpSpPr/>
          <p:nvPr/>
        </p:nvGrpSpPr>
        <p:grpSpPr>
          <a:xfrm>
            <a:off x="5506093" y="1704259"/>
            <a:ext cx="4604064" cy="146194"/>
            <a:chOff x="5466141" y="917933"/>
            <a:chExt cx="4604064" cy="146194"/>
          </a:xfrm>
        </p:grpSpPr>
        <p:sp>
          <p:nvSpPr>
            <p:cNvPr id="155" name="TextBox 154"/>
            <p:cNvSpPr txBox="1">
              <a:spLocks/>
            </p:cNvSpPr>
            <p:nvPr/>
          </p:nvSpPr>
          <p:spPr bwMode="gray">
            <a:xfrm>
              <a:off x="9280907" y="91793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FF0000"/>
                  </a:solidFill>
                  <a:latin typeface="Arial"/>
                </a:rPr>
                <a:t>12/31/15</a:t>
              </a:r>
              <a:endParaRPr lang="en-US" b="0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56" name="TextBox 155"/>
            <p:cNvSpPr txBox="1">
              <a:spLocks/>
            </p:cNvSpPr>
            <p:nvPr/>
          </p:nvSpPr>
          <p:spPr bwMode="gray">
            <a:xfrm>
              <a:off x="5466141" y="91793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SHUSA, SCUSA, SBNA RAS </a:t>
              </a:r>
              <a:r>
                <a:rPr lang="en-US" sz="950" dirty="0"/>
                <a:t>d</a:t>
              </a:r>
              <a:r>
                <a:rPr lang="en-US" sz="950" dirty="0" smtClean="0"/>
                <a:t>esign and approval</a:t>
              </a:r>
              <a:endParaRPr lang="en-US" sz="950" dirty="0"/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5496858" y="2053163"/>
            <a:ext cx="4604064" cy="292388"/>
            <a:chOff x="5466141" y="993879"/>
            <a:chExt cx="4604064" cy="292388"/>
          </a:xfrm>
        </p:grpSpPr>
        <p:sp>
          <p:nvSpPr>
            <p:cNvPr id="158" name="TextBox 157"/>
            <p:cNvSpPr txBox="1">
              <a:spLocks/>
            </p:cNvSpPr>
            <p:nvPr/>
          </p:nvSpPr>
          <p:spPr bwMode="gray">
            <a:xfrm>
              <a:off x="9280907" y="1053259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01/12/16</a:t>
              </a:r>
            </a:p>
          </p:txBody>
        </p:sp>
        <p:sp>
          <p:nvSpPr>
            <p:cNvPr id="159" name="TextBox 158"/>
            <p:cNvSpPr txBox="1">
              <a:spLocks/>
            </p:cNvSpPr>
            <p:nvPr/>
          </p:nvSpPr>
          <p:spPr bwMode="gray">
            <a:xfrm>
              <a:off x="5466141" y="993879"/>
              <a:ext cx="3704899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Initial embedding of top-level RAS </a:t>
              </a:r>
              <a:r>
                <a:rPr lang="en-US" sz="950" dirty="0"/>
                <a:t>in material </a:t>
              </a:r>
              <a:r>
                <a:rPr lang="en-US" sz="950" dirty="0" smtClean="0"/>
                <a:t>SHUSA processes and plan further embedding across </a:t>
              </a:r>
              <a:r>
                <a:rPr lang="en-US" sz="950" dirty="0"/>
                <a:t>the enterprise</a:t>
              </a: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506093" y="2369191"/>
            <a:ext cx="4604064" cy="146194"/>
            <a:chOff x="5466141" y="1361207"/>
            <a:chExt cx="4604064" cy="146194"/>
          </a:xfrm>
        </p:grpSpPr>
        <p:sp>
          <p:nvSpPr>
            <p:cNvPr id="161" name="TextBox 160"/>
            <p:cNvSpPr txBox="1">
              <a:spLocks/>
            </p:cNvSpPr>
            <p:nvPr/>
          </p:nvSpPr>
          <p:spPr bwMode="gray">
            <a:xfrm>
              <a:off x="9280907" y="136120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FF0000"/>
                  </a:solidFill>
                  <a:latin typeface="Arial"/>
                </a:rPr>
                <a:t>01/15/16</a:t>
              </a:r>
              <a:endParaRPr lang="en-US" b="0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62" name="TextBox 161"/>
            <p:cNvSpPr txBox="1">
              <a:spLocks/>
            </p:cNvSpPr>
            <p:nvPr/>
          </p:nvSpPr>
          <p:spPr bwMode="gray">
            <a:xfrm>
              <a:off x="5466141" y="136120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Develop and execute Material Risk Program</a:t>
              </a:r>
              <a:endParaRPr lang="en-US" sz="950" dirty="0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5502709" y="1338362"/>
            <a:ext cx="4604064" cy="146194"/>
            <a:chOff x="5466141" y="1526223"/>
            <a:chExt cx="4604064" cy="146194"/>
          </a:xfrm>
        </p:grpSpPr>
        <p:sp>
          <p:nvSpPr>
            <p:cNvPr id="164" name="TextBox 163"/>
            <p:cNvSpPr txBox="1">
              <a:spLocks/>
            </p:cNvSpPr>
            <p:nvPr/>
          </p:nvSpPr>
          <p:spPr bwMode="gray">
            <a:xfrm>
              <a:off x="9280907" y="152622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70C0"/>
                  </a:solidFill>
                  <a:latin typeface="Arial"/>
                </a:rPr>
                <a:t>10/02/15</a:t>
              </a:r>
              <a:endParaRPr lang="en-US" b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65" name="TextBox 164"/>
            <p:cNvSpPr txBox="1">
              <a:spLocks/>
            </p:cNvSpPr>
            <p:nvPr/>
          </p:nvSpPr>
          <p:spPr bwMode="gray">
            <a:xfrm>
              <a:off x="5466141" y="152622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>
                  <a:solidFill>
                    <a:srgbClr val="0070C0"/>
                  </a:solidFill>
                </a:rPr>
                <a:t>Implement near-term enhancements to Risk org / reporting lines</a:t>
              </a:r>
              <a:endParaRPr lang="en-US" sz="95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5496858" y="2899114"/>
            <a:ext cx="4604064" cy="146194"/>
            <a:chOff x="5466141" y="1969497"/>
            <a:chExt cx="4604064" cy="146194"/>
          </a:xfrm>
        </p:grpSpPr>
        <p:sp>
          <p:nvSpPr>
            <p:cNvPr id="167" name="TextBox 166"/>
            <p:cNvSpPr txBox="1">
              <a:spLocks/>
            </p:cNvSpPr>
            <p:nvPr/>
          </p:nvSpPr>
          <p:spPr bwMode="gray">
            <a:xfrm>
              <a:off x="9280907" y="196949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FF0000"/>
                  </a:solidFill>
                  <a:latin typeface="Arial"/>
                </a:rPr>
                <a:t>09/30/16</a:t>
              </a:r>
              <a:endParaRPr lang="en-US" b="0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68" name="TextBox 167"/>
            <p:cNvSpPr txBox="1">
              <a:spLocks/>
            </p:cNvSpPr>
            <p:nvPr/>
          </p:nvSpPr>
          <p:spPr bwMode="gray">
            <a:xfrm>
              <a:off x="5466141" y="196949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>
                  <a:solidFill>
                    <a:srgbClr val="FF0000"/>
                  </a:solidFill>
                </a:rPr>
                <a:t>Assess Risk Culture and define enhancement objectives</a:t>
              </a:r>
              <a:endParaRPr lang="en-US" sz="95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5496858" y="3055998"/>
            <a:ext cx="4604064" cy="146194"/>
            <a:chOff x="5466141" y="2577787"/>
            <a:chExt cx="4604064" cy="146194"/>
          </a:xfrm>
        </p:grpSpPr>
        <p:sp>
          <p:nvSpPr>
            <p:cNvPr id="173" name="TextBox 172"/>
            <p:cNvSpPr txBox="1">
              <a:spLocks/>
            </p:cNvSpPr>
            <p:nvPr/>
          </p:nvSpPr>
          <p:spPr bwMode="gray">
            <a:xfrm>
              <a:off x="9280907" y="257778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FF0000"/>
                  </a:solidFill>
                  <a:latin typeface="Arial"/>
                </a:rPr>
                <a:t>TBD</a:t>
              </a:r>
              <a:endParaRPr lang="en-US" b="0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74" name="TextBox 173"/>
            <p:cNvSpPr txBox="1">
              <a:spLocks/>
            </p:cNvSpPr>
            <p:nvPr/>
          </p:nvSpPr>
          <p:spPr bwMode="gray">
            <a:xfrm>
              <a:off x="5466141" y="257778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Implement </a:t>
              </a:r>
              <a:r>
                <a:rPr lang="en-US" sz="950" dirty="0"/>
                <a:t>Target Operating Model for each Risk Type / Function</a:t>
              </a: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5496858" y="2706882"/>
            <a:ext cx="4604064" cy="152544"/>
            <a:chOff x="5466141" y="2722695"/>
            <a:chExt cx="4604064" cy="152544"/>
          </a:xfrm>
        </p:grpSpPr>
        <p:sp>
          <p:nvSpPr>
            <p:cNvPr id="176" name="TextBox 175"/>
            <p:cNvSpPr txBox="1">
              <a:spLocks/>
            </p:cNvSpPr>
            <p:nvPr/>
          </p:nvSpPr>
          <p:spPr bwMode="gray">
            <a:xfrm>
              <a:off x="5466141" y="2729045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/>
                <a:t>Roll out new commercial risk ratings for CRE and C&amp;I</a:t>
              </a:r>
              <a:endParaRPr lang="en-US" sz="950" dirty="0"/>
            </a:p>
          </p:txBody>
        </p:sp>
        <p:sp>
          <p:nvSpPr>
            <p:cNvPr id="177" name="TextBox 176"/>
            <p:cNvSpPr txBox="1">
              <a:spLocks/>
            </p:cNvSpPr>
            <p:nvPr/>
          </p:nvSpPr>
          <p:spPr bwMode="gray">
            <a:xfrm>
              <a:off x="9280907" y="2722695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FF0000"/>
                  </a:solidFill>
                  <a:latin typeface="Arial"/>
                </a:rPr>
                <a:t>08/12/16</a:t>
              </a:r>
              <a:endParaRPr lang="en-US" b="0" dirty="0">
                <a:solidFill>
                  <a:srgbClr val="FF0000"/>
                </a:solidFill>
                <a:latin typeface="Arial"/>
              </a:endParaRPr>
            </a:p>
          </p:txBody>
        </p:sp>
      </p:grpSp>
      <p:grpSp>
        <p:nvGrpSpPr>
          <p:cNvPr id="178" name="Group 177"/>
          <p:cNvGrpSpPr/>
          <p:nvPr/>
        </p:nvGrpSpPr>
        <p:grpSpPr>
          <a:xfrm>
            <a:off x="5506093" y="1522762"/>
            <a:ext cx="4604064" cy="146194"/>
            <a:chOff x="5466141" y="3021061"/>
            <a:chExt cx="4604064" cy="146194"/>
          </a:xfrm>
        </p:grpSpPr>
        <p:sp>
          <p:nvSpPr>
            <p:cNvPr id="179" name="TextBox 178"/>
            <p:cNvSpPr txBox="1">
              <a:spLocks/>
            </p:cNvSpPr>
            <p:nvPr/>
          </p:nvSpPr>
          <p:spPr bwMode="gray">
            <a:xfrm>
              <a:off x="9280907" y="3021061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B050"/>
                  </a:solidFill>
                  <a:latin typeface="Arial"/>
                </a:rPr>
                <a:t>11/30/15</a:t>
              </a:r>
              <a:endParaRPr lang="en-US" b="0" dirty="0">
                <a:solidFill>
                  <a:srgbClr val="00B050"/>
                </a:solidFill>
                <a:latin typeface="Arial"/>
              </a:endParaRPr>
            </a:p>
          </p:txBody>
        </p:sp>
        <p:sp>
          <p:nvSpPr>
            <p:cNvPr id="180" name="TextBox 179"/>
            <p:cNvSpPr txBox="1">
              <a:spLocks/>
            </p:cNvSpPr>
            <p:nvPr/>
          </p:nvSpPr>
          <p:spPr bwMode="gray">
            <a:xfrm>
              <a:off x="5466141" y="3021061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>
                  <a:solidFill>
                    <a:srgbClr val="00B050"/>
                  </a:solidFill>
                </a:rPr>
                <a:t>Draft </a:t>
              </a:r>
              <a:r>
                <a:rPr lang="en-US" sz="950" dirty="0" smtClean="0">
                  <a:solidFill>
                    <a:srgbClr val="00B050"/>
                  </a:solidFill>
                </a:rPr>
                <a:t>SHUSA’s Governance </a:t>
              </a:r>
              <a:r>
                <a:rPr lang="en-US" sz="950" dirty="0">
                  <a:solidFill>
                    <a:srgbClr val="00B050"/>
                  </a:solidFill>
                </a:rPr>
                <a:t>and Oversight Framework </a:t>
              </a:r>
              <a:r>
                <a:rPr lang="en-US" sz="950" dirty="0" smtClean="0">
                  <a:solidFill>
                    <a:srgbClr val="00B050"/>
                  </a:solidFill>
                </a:rPr>
                <a:t>Document</a:t>
              </a:r>
              <a:endParaRPr lang="en-US" sz="950" dirty="0">
                <a:solidFill>
                  <a:srgbClr val="00B050"/>
                </a:solidFill>
              </a:endParaRPr>
            </a:p>
          </p:txBody>
        </p:sp>
      </p:grpSp>
      <p:cxnSp>
        <p:nvCxnSpPr>
          <p:cNvPr id="187" name="Straight Connector 186"/>
          <p:cNvCxnSpPr>
            <a:cxnSpLocks/>
          </p:cNvCxnSpPr>
          <p:nvPr/>
        </p:nvCxnSpPr>
        <p:spPr bwMode="gray">
          <a:xfrm>
            <a:off x="5466141" y="2697346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88" name="Group 187"/>
          <p:cNvGrpSpPr/>
          <p:nvPr/>
        </p:nvGrpSpPr>
        <p:grpSpPr>
          <a:xfrm>
            <a:off x="5496858" y="2540033"/>
            <a:ext cx="4604064" cy="146194"/>
            <a:chOff x="5466141" y="3186082"/>
            <a:chExt cx="4604064" cy="146194"/>
          </a:xfrm>
        </p:grpSpPr>
        <p:sp>
          <p:nvSpPr>
            <p:cNvPr id="189" name="TextBox 188"/>
            <p:cNvSpPr txBox="1">
              <a:spLocks/>
            </p:cNvSpPr>
            <p:nvPr/>
          </p:nvSpPr>
          <p:spPr bwMode="gray">
            <a:xfrm>
              <a:off x="9280907" y="3186082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70C0"/>
                  </a:solidFill>
                  <a:latin typeface="Arial"/>
                </a:rPr>
                <a:t>04/01/16</a:t>
              </a:r>
              <a:endParaRPr lang="en-US" b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90" name="TextBox 189"/>
            <p:cNvSpPr txBox="1">
              <a:spLocks/>
            </p:cNvSpPr>
            <p:nvPr/>
          </p:nvSpPr>
          <p:spPr bwMode="gray">
            <a:xfrm>
              <a:off x="5466141" y="3186082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>
                  <a:solidFill>
                    <a:srgbClr val="0070C0"/>
                  </a:solidFill>
                </a:rPr>
                <a:t>Risk Operating </a:t>
              </a:r>
              <a:r>
                <a:rPr lang="en-US" sz="950" dirty="0">
                  <a:solidFill>
                    <a:srgbClr val="0070C0"/>
                  </a:solidFill>
                </a:rPr>
                <a:t>Model </a:t>
              </a:r>
              <a:r>
                <a:rPr lang="en-US" sz="950" dirty="0" smtClean="0">
                  <a:solidFill>
                    <a:srgbClr val="0070C0"/>
                  </a:solidFill>
                </a:rPr>
                <a:t>design and implementation planning</a:t>
              </a:r>
              <a:endParaRPr lang="en-US" sz="95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>
            <a:off x="5496858" y="3244494"/>
            <a:ext cx="4604064" cy="146194"/>
            <a:chOff x="5466141" y="2577787"/>
            <a:chExt cx="4604064" cy="146194"/>
          </a:xfrm>
        </p:grpSpPr>
        <p:sp>
          <p:nvSpPr>
            <p:cNvPr id="192" name="TextBox 191"/>
            <p:cNvSpPr txBox="1">
              <a:spLocks/>
            </p:cNvSpPr>
            <p:nvPr/>
          </p:nvSpPr>
          <p:spPr bwMode="gray">
            <a:xfrm>
              <a:off x="9280907" y="257778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70C0"/>
                  </a:solidFill>
                  <a:latin typeface="Arial"/>
                </a:rPr>
                <a:t>TBD</a:t>
              </a:r>
              <a:endParaRPr lang="en-US" b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93" name="TextBox 192"/>
            <p:cNvSpPr txBox="1">
              <a:spLocks/>
            </p:cNvSpPr>
            <p:nvPr/>
          </p:nvSpPr>
          <p:spPr bwMode="gray">
            <a:xfrm>
              <a:off x="5466141" y="257778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>
                  <a:solidFill>
                    <a:srgbClr val="0070C0"/>
                  </a:solidFill>
                </a:rPr>
                <a:t>Design and roll-out foundational Risk ID </a:t>
              </a:r>
              <a:r>
                <a:rPr lang="en-US" sz="950" dirty="0" smtClean="0">
                  <a:solidFill>
                    <a:srgbClr val="0070C0"/>
                  </a:solidFill>
                </a:rPr>
                <a:t>processes</a:t>
              </a:r>
              <a:endParaRPr lang="en-US" sz="950" dirty="0">
                <a:solidFill>
                  <a:srgbClr val="0070C0"/>
                </a:solidFill>
              </a:endParaRPr>
            </a:p>
          </p:txBody>
        </p:sp>
      </p:grpSp>
      <p:cxnSp>
        <p:nvCxnSpPr>
          <p:cNvPr id="194" name="Straight Connector 193"/>
          <p:cNvCxnSpPr>
            <a:cxnSpLocks/>
          </p:cNvCxnSpPr>
          <p:nvPr/>
        </p:nvCxnSpPr>
        <p:spPr bwMode="gray">
          <a:xfrm>
            <a:off x="5478841" y="320979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95" name="Group 194"/>
          <p:cNvGrpSpPr/>
          <p:nvPr/>
        </p:nvGrpSpPr>
        <p:grpSpPr>
          <a:xfrm>
            <a:off x="5500481" y="1887219"/>
            <a:ext cx="4604064" cy="146194"/>
            <a:chOff x="5466141" y="917933"/>
            <a:chExt cx="4604064" cy="146194"/>
          </a:xfrm>
        </p:grpSpPr>
        <p:sp>
          <p:nvSpPr>
            <p:cNvPr id="196" name="TextBox 195"/>
            <p:cNvSpPr txBox="1">
              <a:spLocks/>
            </p:cNvSpPr>
            <p:nvPr/>
          </p:nvSpPr>
          <p:spPr bwMode="gray">
            <a:xfrm>
              <a:off x="9280907" y="91793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70C0"/>
                  </a:solidFill>
                  <a:latin typeface="Arial"/>
                </a:rPr>
                <a:t>01/08/16</a:t>
              </a:r>
              <a:endParaRPr lang="en-US" b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97" name="TextBox 196"/>
            <p:cNvSpPr txBox="1">
              <a:spLocks/>
            </p:cNvSpPr>
            <p:nvPr/>
          </p:nvSpPr>
          <p:spPr bwMode="gray">
            <a:xfrm>
              <a:off x="5466141" y="91793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>
                  <a:solidFill>
                    <a:srgbClr val="0070C0"/>
                  </a:solidFill>
                </a:rPr>
                <a:t>Enhanced Top-level risk </a:t>
              </a:r>
              <a:r>
                <a:rPr lang="en-US" sz="950" dirty="0" smtClean="0">
                  <a:solidFill>
                    <a:srgbClr val="0070C0"/>
                  </a:solidFill>
                </a:rPr>
                <a:t>policies and 3 LOD articulation </a:t>
              </a:r>
              <a:endParaRPr lang="en-US" sz="950" dirty="0">
                <a:solidFill>
                  <a:srgbClr val="0070C0"/>
                </a:solidFill>
              </a:endParaRPr>
            </a:p>
          </p:txBody>
        </p:sp>
      </p:grpSp>
      <p:cxnSp>
        <p:nvCxnSpPr>
          <p:cNvPr id="198" name="Straight Connector 197"/>
          <p:cNvCxnSpPr>
            <a:cxnSpLocks/>
          </p:cNvCxnSpPr>
          <p:nvPr/>
        </p:nvCxnSpPr>
        <p:spPr bwMode="gray">
          <a:xfrm>
            <a:off x="5453294" y="2349071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>
            <a:cxnSpLocks/>
          </p:cNvCxnSpPr>
          <p:nvPr/>
        </p:nvCxnSpPr>
        <p:spPr bwMode="gray">
          <a:xfrm>
            <a:off x="5447091" y="1316593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74" name="Group 73"/>
          <p:cNvGrpSpPr/>
          <p:nvPr/>
        </p:nvGrpSpPr>
        <p:grpSpPr>
          <a:xfrm>
            <a:off x="5506093" y="1139750"/>
            <a:ext cx="4604064" cy="146194"/>
            <a:chOff x="5466141" y="3021061"/>
            <a:chExt cx="4604064" cy="146194"/>
          </a:xfrm>
        </p:grpSpPr>
        <p:sp>
          <p:nvSpPr>
            <p:cNvPr id="75" name="TextBox 74"/>
            <p:cNvSpPr txBox="1">
              <a:spLocks/>
            </p:cNvSpPr>
            <p:nvPr/>
          </p:nvSpPr>
          <p:spPr bwMode="gray">
            <a:xfrm>
              <a:off x="9280907" y="3021061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09/07/15</a:t>
              </a:r>
            </a:p>
          </p:txBody>
        </p:sp>
        <p:sp>
          <p:nvSpPr>
            <p:cNvPr id="76" name="TextBox 75"/>
            <p:cNvSpPr txBox="1">
              <a:spLocks/>
            </p:cNvSpPr>
            <p:nvPr/>
          </p:nvSpPr>
          <p:spPr bwMode="gray">
            <a:xfrm>
              <a:off x="5466141" y="3021061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/>
                <a:t>Define target </a:t>
              </a:r>
              <a:r>
                <a:rPr lang="en-US" sz="950" dirty="0">
                  <a:solidFill>
                    <a:srgbClr val="FF0000"/>
                  </a:solidFill>
                </a:rPr>
                <a:t>exec. mgmt.</a:t>
              </a:r>
              <a:r>
                <a:rPr lang="en-US" sz="950" dirty="0"/>
                <a:t> risk reporting landscape</a:t>
              </a:r>
            </a:p>
          </p:txBody>
        </p:sp>
      </p:grpSp>
      <p:cxnSp>
        <p:nvCxnSpPr>
          <p:cNvPr id="77" name="Straight Connector 76"/>
          <p:cNvCxnSpPr>
            <a:cxnSpLocks/>
          </p:cNvCxnSpPr>
          <p:nvPr/>
        </p:nvCxnSpPr>
        <p:spPr bwMode="gray">
          <a:xfrm>
            <a:off x="5455107" y="1108033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78" name="Group 77"/>
          <p:cNvGrpSpPr/>
          <p:nvPr/>
        </p:nvGrpSpPr>
        <p:grpSpPr>
          <a:xfrm>
            <a:off x="5514109" y="955254"/>
            <a:ext cx="4604064" cy="146194"/>
            <a:chOff x="5466141" y="3021061"/>
            <a:chExt cx="4604064" cy="146194"/>
          </a:xfrm>
        </p:grpSpPr>
        <p:sp>
          <p:nvSpPr>
            <p:cNvPr id="79" name="TextBox 78"/>
            <p:cNvSpPr txBox="1">
              <a:spLocks/>
            </p:cNvSpPr>
            <p:nvPr/>
          </p:nvSpPr>
          <p:spPr bwMode="gray">
            <a:xfrm>
              <a:off x="9280907" y="3021061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B050"/>
                  </a:solidFill>
                  <a:latin typeface="Arial"/>
                </a:rPr>
                <a:t>07/31/15</a:t>
              </a:r>
              <a:endParaRPr lang="en-US" b="0" dirty="0">
                <a:solidFill>
                  <a:srgbClr val="00B050"/>
                </a:solidFill>
                <a:latin typeface="Arial"/>
              </a:endParaRPr>
            </a:p>
          </p:txBody>
        </p:sp>
        <p:sp>
          <p:nvSpPr>
            <p:cNvPr id="80" name="TextBox 79"/>
            <p:cNvSpPr txBox="1">
              <a:spLocks/>
            </p:cNvSpPr>
            <p:nvPr/>
          </p:nvSpPr>
          <p:spPr bwMode="gray">
            <a:xfrm>
              <a:off x="5466141" y="3021061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>
                  <a:solidFill>
                    <a:srgbClr val="00B050"/>
                  </a:solidFill>
                </a:rPr>
                <a:t>Implement routine Risk-Business reviews with reports</a:t>
              </a:r>
              <a:endParaRPr lang="en-US" sz="950" dirty="0">
                <a:solidFill>
                  <a:srgbClr val="00B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077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99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805978"/>
            <a:ext cx="9718506" cy="52760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1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49"/>
            <a:ext cx="950208" cy="49370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85298"/>
            <a:ext cx="608648" cy="4927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1/30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7/3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8/15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9/30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9/30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9/30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0/3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1/30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1/31/16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1/15/16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1/31/16xx</a:t>
            </a:r>
            <a:endParaRPr lang="en-GB" sz="900" dirty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err="1" smtClean="0">
                <a:solidFill>
                  <a:srgbClr val="00B050"/>
                </a:solidFill>
              </a:rPr>
              <a:t>Ongoingxx</a:t>
            </a:r>
            <a:endParaRPr lang="en-US" sz="900" dirty="0" smtClean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B050"/>
                </a:solidFill>
              </a:rPr>
              <a:t>07/31/15xx</a:t>
            </a:r>
            <a:endParaRPr lang="en-US" sz="900" dirty="0" smtClean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smtClean="0">
                <a:solidFill>
                  <a:srgbClr val="000000"/>
                </a:solidFill>
              </a:rPr>
              <a:t>01/08/16xx</a:t>
            </a:r>
            <a:endParaRPr lang="en-US" sz="900" dirty="0">
              <a:solidFill>
                <a:srgbClr val="000000"/>
              </a:solidFill>
            </a:endParaRPr>
          </a:p>
          <a:p>
            <a:pPr fontAlgn="ctr">
              <a:spcAft>
                <a:spcPts val="100"/>
              </a:spcAft>
            </a:pPr>
            <a:endParaRPr lang="en-US" sz="800" dirty="0" smtClean="0"/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TBD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0/02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0/02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06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0/02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06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1/22/16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4/01/16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/>
              <a:t>Ongoing</a:t>
            </a:r>
            <a:endParaRPr lang="en-US" sz="900" dirty="0"/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0" y="1085298"/>
            <a:ext cx="634009" cy="5059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7/15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7/15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7/15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8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8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7/15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0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1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2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12/01/15xx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01/3/16xx</a:t>
            </a:r>
            <a:endParaRPr lang="en-GB" sz="900" dirty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B050"/>
                </a:solidFill>
              </a:rPr>
              <a:t>02/01/16xx</a:t>
            </a:r>
            <a:endParaRPr lang="en-US" sz="900" dirty="0" smtClean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B050"/>
                </a:solidFill>
              </a:rPr>
              <a:t>07/13/15xx</a:t>
            </a:r>
            <a:endParaRPr lang="en-US" sz="900" dirty="0" smtClean="0">
              <a:solidFill>
                <a:srgbClr val="00B05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0000"/>
                </a:solidFill>
              </a:rPr>
              <a:t>07/13/15xx</a:t>
            </a:r>
            <a:endParaRPr lang="en-US" sz="900" dirty="0">
              <a:solidFill>
                <a:srgbClr val="000000"/>
              </a:solidFill>
            </a:endParaRPr>
          </a:p>
          <a:p>
            <a:pPr fontAlgn="ctr">
              <a:spcAft>
                <a:spcPts val="100"/>
              </a:spcAft>
            </a:pPr>
            <a:endParaRPr lang="en-US" sz="800" dirty="0" smtClean="0"/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08/03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03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03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31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31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0/05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16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2/01/16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b="1" u="sng" dirty="0" smtClean="0">
                <a:solidFill>
                  <a:srgbClr val="FF0000"/>
                </a:solidFill>
              </a:rPr>
              <a:t>11/09/15</a:t>
            </a:r>
            <a:r>
              <a:rPr lang="en-US" sz="900" b="1" u="sng" dirty="0" smtClean="0">
                <a:solidFill>
                  <a:srgbClr val="FF0000"/>
                </a:solidFill>
              </a:rPr>
              <a:t>??xx</a:t>
            </a:r>
            <a:endParaRPr lang="en-US" sz="900" b="1" u="sng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1/25/16xx</a:t>
            </a:r>
            <a:endParaRPr lang="en-US" sz="9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24541" y="1091555"/>
            <a:ext cx="1101842" cy="5053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B. Gunn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3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B050"/>
                </a:solidFill>
              </a:rPr>
              <a:t>B. Gunn</a:t>
            </a: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buClr>
                <a:srgbClr val="FF0000"/>
              </a:buClr>
              <a:buNone/>
            </a:pPr>
            <a:endParaRPr lang="en-GB" sz="900" dirty="0">
              <a:solidFill>
                <a:srgbClr val="00B05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B05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B050"/>
                </a:solidFill>
              </a:rPr>
              <a:t>B. </a:t>
            </a:r>
            <a:r>
              <a:rPr lang="en-US" sz="900" dirty="0" smtClean="0">
                <a:solidFill>
                  <a:srgbClr val="00B050"/>
                </a:solidFill>
              </a:rPr>
              <a:t>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B050"/>
                </a:solidFill>
              </a:rPr>
              <a:t>B</a:t>
            </a:r>
            <a:r>
              <a:rPr lang="en-US" sz="900" dirty="0">
                <a:solidFill>
                  <a:srgbClr val="00B050"/>
                </a:solidFill>
              </a:rPr>
              <a:t>. </a:t>
            </a:r>
            <a:r>
              <a:rPr lang="en-US" sz="900" dirty="0" smtClean="0">
                <a:solidFill>
                  <a:srgbClr val="00B050"/>
                </a:solidFill>
              </a:rPr>
              <a:t>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8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. Gunn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95"/>
          <p:cNvSpPr txBox="1">
            <a:spLocks/>
          </p:cNvSpPr>
          <p:nvPr/>
        </p:nvSpPr>
        <p:spPr>
          <a:xfrm>
            <a:off x="1430456" y="1085299"/>
            <a:ext cx="5841202" cy="493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B050"/>
                </a:solidFill>
              </a:rPr>
              <a:t>Draft </a:t>
            </a:r>
            <a:r>
              <a:rPr lang="en-US" sz="900" dirty="0">
                <a:solidFill>
                  <a:srgbClr val="00B050"/>
                </a:solidFill>
              </a:rPr>
              <a:t>overarching Governance and Oversight Framework Document for SHUSA</a:t>
            </a:r>
            <a:r>
              <a:rPr lang="en-US" sz="900" baseline="30000" dirty="0">
                <a:solidFill>
                  <a:srgbClr val="00B050"/>
                </a:solidFill>
              </a:rPr>
              <a:t>1</a:t>
            </a:r>
            <a:r>
              <a:rPr lang="en-US" sz="900" dirty="0">
                <a:solidFill>
                  <a:srgbClr val="00B050"/>
                </a:solidFill>
              </a:rPr>
              <a:t>; syndicate and </a:t>
            </a:r>
            <a:r>
              <a:rPr lang="en-US" sz="900" dirty="0" smtClean="0">
                <a:solidFill>
                  <a:srgbClr val="00B050"/>
                </a:solidFill>
              </a:rPr>
              <a:t>finalize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Establish core principles for governance and oversight of SHUSA and its subsidiaries, including role of and interactions with the </a:t>
            </a:r>
            <a:r>
              <a:rPr lang="en-US" sz="900" dirty="0" smtClean="0">
                <a:solidFill>
                  <a:srgbClr val="00B050"/>
                </a:solidFill>
              </a:rPr>
              <a:t>holding </a:t>
            </a:r>
            <a:r>
              <a:rPr lang="en-US" sz="900" dirty="0" smtClean="0">
                <a:solidFill>
                  <a:srgbClr val="00B050"/>
                </a:solidFill>
              </a:rPr>
              <a:t>company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B050"/>
                </a:solidFill>
              </a:rPr>
              <a:t>Define </a:t>
            </a:r>
            <a:r>
              <a:rPr lang="en-US" sz="900" dirty="0">
                <a:solidFill>
                  <a:srgbClr val="00B050"/>
                </a:solidFill>
              </a:rPr>
              <a:t>target state committee </a:t>
            </a:r>
            <a:r>
              <a:rPr lang="en-US" sz="900" dirty="0" smtClean="0">
                <a:solidFill>
                  <a:srgbClr val="00B050"/>
                </a:solidFill>
              </a:rPr>
              <a:t>structure including Board and Management committees </a:t>
            </a:r>
            <a:r>
              <a:rPr lang="en-US" sz="900" dirty="0" smtClean="0">
                <a:solidFill>
                  <a:srgbClr val="00B050"/>
                </a:solidFill>
              </a:rPr>
              <a:t>xx</a:t>
            </a:r>
            <a:endParaRPr lang="en-US" sz="900" dirty="0" smtClean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B050"/>
                </a:solidFill>
              </a:rPr>
              <a:t>Articulate </a:t>
            </a:r>
            <a:r>
              <a:rPr lang="en-US" sz="900" dirty="0">
                <a:solidFill>
                  <a:srgbClr val="00B050"/>
                </a:solidFill>
              </a:rPr>
              <a:t>committee compositions, roles, decision rights, delegation of authority and distribution of responsibilities between the Group, SHUSA and its </a:t>
            </a:r>
            <a:r>
              <a:rPr lang="en-US" sz="900" dirty="0" smtClean="0">
                <a:solidFill>
                  <a:srgbClr val="00B050"/>
                </a:solidFill>
              </a:rPr>
              <a:t>subsidiaries </a:t>
            </a:r>
            <a:r>
              <a:rPr lang="en-US" sz="900" dirty="0" smtClean="0">
                <a:solidFill>
                  <a:srgbClr val="00B050"/>
                </a:solidFill>
              </a:rPr>
              <a:t>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Document the overarching organization structure of SHUSA and its subsidiaries including reporting </a:t>
            </a:r>
            <a:r>
              <a:rPr lang="en-US" sz="900" dirty="0" smtClean="0">
                <a:solidFill>
                  <a:srgbClr val="00B050"/>
                </a:solidFill>
              </a:rPr>
              <a:t>lines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GB" sz="900" dirty="0">
                <a:solidFill>
                  <a:srgbClr val="00B050"/>
                </a:solidFill>
              </a:rPr>
              <a:t>Develop policy framework, establish overall policies including guidelines for approval of </a:t>
            </a:r>
            <a:r>
              <a:rPr lang="en-GB" sz="900" dirty="0" smtClean="0">
                <a:solidFill>
                  <a:srgbClr val="00B050"/>
                </a:solidFill>
              </a:rPr>
              <a:t>policies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Create overarching reporting framework for the Board and Management for SHUSA and its </a:t>
            </a:r>
            <a:r>
              <a:rPr lang="en-US" sz="900" dirty="0" smtClean="0">
                <a:solidFill>
                  <a:srgbClr val="00B050"/>
                </a:solidFill>
              </a:rPr>
              <a:t>subsidiaries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Syndicate Governance and Oversight Framework document with key stakeholders across SHUSA, the legal entities and the Corporation, incorporate refinements and </a:t>
            </a:r>
            <a:r>
              <a:rPr lang="en-US" sz="900" dirty="0" smtClean="0">
                <a:solidFill>
                  <a:srgbClr val="00B050"/>
                </a:solidFill>
              </a:rPr>
              <a:t>finalize xx</a:t>
            </a:r>
            <a:endParaRPr lang="en-US" sz="900" dirty="0">
              <a:solidFill>
                <a:srgbClr val="00B050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Conduct gap analysis against the overarching Governance and Oversight Framework document, identify gaps and develop multi-year execution </a:t>
            </a:r>
            <a:r>
              <a:rPr lang="en-US" sz="900" dirty="0" smtClean="0">
                <a:solidFill>
                  <a:srgbClr val="00B050"/>
                </a:solidFill>
              </a:rPr>
              <a:t>plans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Conduct gap analysis against the target state governance and committee structure, organization and roles, decision rights, delegation of responsibilities, policy framework and </a:t>
            </a:r>
            <a:r>
              <a:rPr lang="en-US" sz="900" dirty="0" smtClean="0">
                <a:solidFill>
                  <a:srgbClr val="00B050"/>
                </a:solidFill>
              </a:rPr>
              <a:t>reporting xx</a:t>
            </a:r>
            <a:endParaRPr lang="en-US" sz="900" dirty="0">
              <a:solidFill>
                <a:srgbClr val="00B050"/>
              </a:solidFill>
            </a:endParaRPr>
          </a:p>
          <a:p>
            <a:pPr marL="399105" lvl="2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B050"/>
                </a:solidFill>
              </a:rPr>
              <a:t>Establish comprehensive implementation plans to address these gaps over a multi-year </a:t>
            </a:r>
            <a:r>
              <a:rPr lang="en-US" sz="900" dirty="0" smtClean="0">
                <a:solidFill>
                  <a:srgbClr val="00B050"/>
                </a:solidFill>
              </a:rPr>
              <a:t>period xx</a:t>
            </a:r>
            <a:endParaRPr lang="en-US" sz="900" spc="-10" dirty="0" smtClean="0">
              <a:solidFill>
                <a:srgbClr val="00B05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00B050"/>
                </a:solidFill>
              </a:rPr>
              <a:t>Execute against multi-year plan for Risk </a:t>
            </a:r>
            <a:r>
              <a:rPr lang="en-US" sz="900" spc="-10" dirty="0" smtClean="0">
                <a:solidFill>
                  <a:srgbClr val="00B050"/>
                </a:solidFill>
              </a:rPr>
              <a:t>Transformation xx</a:t>
            </a:r>
            <a:endParaRPr lang="en-US" sz="900" spc="-10" dirty="0" smtClean="0">
              <a:solidFill>
                <a:srgbClr val="00B05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00B050"/>
                </a:solidFill>
              </a:rPr>
              <a:t>Implement routine Risk-Business reviews with standardized materials and </a:t>
            </a:r>
            <a:r>
              <a:rPr lang="en-US" sz="900" spc="-10" dirty="0" smtClean="0">
                <a:solidFill>
                  <a:srgbClr val="00B050"/>
                </a:solidFill>
              </a:rPr>
              <a:t>reports xx</a:t>
            </a:r>
            <a:endParaRPr lang="en-US" sz="900" spc="-10" dirty="0" smtClean="0">
              <a:solidFill>
                <a:srgbClr val="00B05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 smtClean="0">
                <a:solidFill>
                  <a:srgbClr val="000000"/>
                </a:solidFill>
              </a:rPr>
              <a:t>Enhance </a:t>
            </a:r>
            <a:r>
              <a:rPr lang="en-US" sz="900" spc="-10" dirty="0">
                <a:solidFill>
                  <a:srgbClr val="000000"/>
                </a:solidFill>
              </a:rPr>
              <a:t>top of the house risk policies with clear articulation of roles </a:t>
            </a:r>
            <a:r>
              <a:rPr lang="en-US" sz="900" spc="-10" dirty="0" smtClean="0">
                <a:solidFill>
                  <a:srgbClr val="000000"/>
                </a:solidFill>
              </a:rPr>
              <a:t>and responsibilities across </a:t>
            </a:r>
            <a:r>
              <a:rPr lang="en-US" sz="900" spc="-10" dirty="0">
                <a:solidFill>
                  <a:srgbClr val="000000"/>
                </a:solidFill>
              </a:rPr>
              <a:t>the </a:t>
            </a:r>
            <a:r>
              <a:rPr lang="en-US" sz="900" spc="-10" dirty="0" smtClean="0">
                <a:solidFill>
                  <a:srgbClr val="000000"/>
                </a:solidFill>
              </a:rPr>
              <a:t>Three Lines of Defense (3 LOD) </a:t>
            </a:r>
            <a:r>
              <a:rPr lang="en-US" sz="900" spc="-10" dirty="0" smtClean="0">
                <a:solidFill>
                  <a:srgbClr val="000000"/>
                </a:solidFill>
              </a:rPr>
              <a:t>xx	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</a:t>
            </a:r>
            <a:r>
              <a:rPr lang="en-US" sz="900" spc="-10" dirty="0" smtClean="0">
                <a:solidFill>
                  <a:srgbClr val="000000"/>
                </a:solidFill>
              </a:rPr>
              <a:t>Operating Model </a:t>
            </a:r>
            <a:r>
              <a:rPr lang="en-US" sz="900" spc="-10" dirty="0">
                <a:solidFill>
                  <a:srgbClr val="000000"/>
                </a:solidFill>
              </a:rPr>
              <a:t>across Risk types aligned with principles </a:t>
            </a:r>
            <a:r>
              <a:rPr lang="en-US" sz="900" spc="-10" dirty="0" smtClean="0">
                <a:solidFill>
                  <a:srgbClr val="000000"/>
                </a:solidFill>
              </a:rPr>
              <a:t>of 3 </a:t>
            </a:r>
            <a:r>
              <a:rPr lang="en-US" sz="900" spc="-10" dirty="0">
                <a:solidFill>
                  <a:srgbClr val="000000"/>
                </a:solidFill>
              </a:rPr>
              <a:t>LOD, develop rollout plans and </a:t>
            </a:r>
            <a:r>
              <a:rPr lang="en-US" sz="900" spc="-10" dirty="0" smtClean="0">
                <a:solidFill>
                  <a:srgbClr val="000000"/>
                </a:solidFill>
              </a:rPr>
              <a:t>implement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dentify and implement near term changes to the risk organization and reporting lines across SHUSA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termine the prioritization of </a:t>
            </a:r>
            <a:r>
              <a:rPr lang="en-US" sz="900" spc="-10" dirty="0" smtClean="0">
                <a:solidFill>
                  <a:srgbClr val="707277"/>
                </a:solidFill>
              </a:rPr>
              <a:t>detailed operating model design </a:t>
            </a:r>
            <a:r>
              <a:rPr lang="en-US" sz="900" spc="-10" dirty="0">
                <a:solidFill>
                  <a:srgbClr val="707277"/>
                </a:solidFill>
              </a:rPr>
              <a:t>and rollout by risk type / </a:t>
            </a:r>
            <a:r>
              <a:rPr lang="en-US" sz="900" spc="-10" dirty="0" smtClean="0">
                <a:solidFill>
                  <a:srgbClr val="707277"/>
                </a:solidFill>
              </a:rPr>
              <a:t>function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Design detailed operating model and </a:t>
            </a:r>
            <a:r>
              <a:rPr lang="en-US" sz="900" spc="-10" dirty="0">
                <a:solidFill>
                  <a:srgbClr val="707277"/>
                </a:solidFill>
              </a:rPr>
              <a:t>implementation plans for Risk Type / Function A &amp; B (Most likely Credit, ERM + RAS + </a:t>
            </a:r>
            <a:r>
              <a:rPr lang="en-US" sz="900" spc="-10" dirty="0" smtClean="0">
                <a:solidFill>
                  <a:srgbClr val="707277"/>
                </a:solidFill>
              </a:rPr>
              <a:t>Strategic)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Define detailed organizational </a:t>
            </a:r>
            <a:r>
              <a:rPr lang="en-US" sz="900" spc="-10" dirty="0">
                <a:solidFill>
                  <a:srgbClr val="707277"/>
                </a:solidFill>
              </a:rPr>
              <a:t>structure and assess talent </a:t>
            </a:r>
            <a:r>
              <a:rPr lang="en-US" sz="900" spc="-10" dirty="0" smtClean="0">
                <a:solidFill>
                  <a:srgbClr val="707277"/>
                </a:solidFill>
              </a:rPr>
              <a:t>needs including target headcounts and skill sets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velop rollout </a:t>
            </a:r>
            <a:r>
              <a:rPr lang="en-US" sz="900" spc="-10" dirty="0" smtClean="0">
                <a:solidFill>
                  <a:srgbClr val="707277"/>
                </a:solidFill>
              </a:rPr>
              <a:t>plan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sign </a:t>
            </a:r>
            <a:r>
              <a:rPr lang="en-US" sz="900" spc="-10" dirty="0" smtClean="0">
                <a:solidFill>
                  <a:srgbClr val="707277"/>
                </a:solidFill>
              </a:rPr>
              <a:t>detailed operating </a:t>
            </a:r>
            <a:r>
              <a:rPr lang="en-US" sz="900" spc="-10" dirty="0">
                <a:solidFill>
                  <a:srgbClr val="707277"/>
                </a:solidFill>
              </a:rPr>
              <a:t>model and implementation plans for Risk Type / Function C &amp; D (Most likely Market &amp; Liquidity, Compliance</a:t>
            </a:r>
            <a:r>
              <a:rPr lang="en-US" sz="900" spc="-10" dirty="0" smtClean="0">
                <a:solidFill>
                  <a:srgbClr val="707277"/>
                </a:solidFill>
              </a:rPr>
              <a:t>) </a:t>
            </a:r>
            <a:r>
              <a:rPr lang="en-US" sz="900" spc="-10" dirty="0" smtClean="0">
                <a:solidFill>
                  <a:srgbClr val="707277"/>
                </a:solidFill>
              </a:rPr>
              <a:t>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sign </a:t>
            </a:r>
            <a:r>
              <a:rPr lang="en-US" sz="900" spc="-10" dirty="0" smtClean="0">
                <a:solidFill>
                  <a:srgbClr val="707277"/>
                </a:solidFill>
              </a:rPr>
              <a:t>detailed operating </a:t>
            </a:r>
            <a:r>
              <a:rPr lang="en-US" sz="900" spc="-10" dirty="0">
                <a:solidFill>
                  <a:srgbClr val="707277"/>
                </a:solidFill>
              </a:rPr>
              <a:t>model and implementation plans for Risk Type / Function E &amp; F (Most likely Risk Management Information, Capital </a:t>
            </a:r>
            <a:r>
              <a:rPr lang="en-US" sz="900" spc="-10" dirty="0" smtClean="0">
                <a:solidFill>
                  <a:srgbClr val="707277"/>
                </a:solidFill>
              </a:rPr>
              <a:t>Risk)xx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b="1" u="sng" spc="-10" dirty="0">
                <a:solidFill>
                  <a:srgbClr val="FF0000"/>
                </a:solidFill>
              </a:rPr>
              <a:t>Implement the redesigned Operating Model for each Risk Type / </a:t>
            </a:r>
            <a:r>
              <a:rPr lang="en-US" sz="900" b="1" u="sng" spc="-10" dirty="0" smtClean="0">
                <a:solidFill>
                  <a:srgbClr val="FF0000"/>
                </a:solidFill>
              </a:rPr>
              <a:t>Function</a:t>
            </a:r>
            <a:r>
              <a:rPr lang="en-US" sz="900" b="1" u="sng" spc="-10" baseline="30000" dirty="0" smtClean="0">
                <a:solidFill>
                  <a:srgbClr val="FF0000"/>
                </a:solidFill>
              </a:rPr>
              <a:t>1 </a:t>
            </a:r>
            <a:r>
              <a:rPr lang="en-US" sz="900" b="1" u="sng" spc="-10" baseline="30000" dirty="0" smtClean="0">
                <a:solidFill>
                  <a:srgbClr val="FF0000"/>
                </a:solidFill>
              </a:rPr>
              <a:t>??xx</a:t>
            </a:r>
            <a:endParaRPr lang="en-US" sz="900" b="1" u="sng" spc="-10" baseline="3000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Conduct </a:t>
            </a:r>
            <a:r>
              <a:rPr lang="en-US" sz="900" spc="-10" dirty="0" smtClean="0">
                <a:solidFill>
                  <a:srgbClr val="707277"/>
                </a:solidFill>
              </a:rPr>
              <a:t>post-implementation reviews x</a:t>
            </a:r>
            <a:r>
              <a:rPr lang="en-US" sz="900" spc="-10" baseline="30000" dirty="0" smtClean="0">
                <a:solidFill>
                  <a:srgbClr val="00B050"/>
                </a:solidFill>
              </a:rPr>
              <a:t>2   </a:t>
            </a:r>
            <a:endParaRPr lang="en-US" sz="900" spc="-10" baseline="30000" dirty="0">
              <a:solidFill>
                <a:srgbClr val="00B050"/>
              </a:solidFill>
            </a:endParaRP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Rollout communication and training for </a:t>
            </a:r>
            <a:r>
              <a:rPr lang="en-US" sz="900" spc="-10" dirty="0" smtClean="0">
                <a:solidFill>
                  <a:srgbClr val="000000"/>
                </a:solidFill>
              </a:rPr>
              <a:t>organizational </a:t>
            </a:r>
            <a:r>
              <a:rPr lang="en-US" sz="900" spc="-10" dirty="0">
                <a:solidFill>
                  <a:srgbClr val="000000"/>
                </a:solidFill>
              </a:rPr>
              <a:t>changes related to 3 </a:t>
            </a:r>
            <a:r>
              <a:rPr lang="en-US" sz="900" spc="-10" dirty="0" smtClean="0">
                <a:solidFill>
                  <a:srgbClr val="000000"/>
                </a:solidFill>
              </a:rPr>
              <a:t>LOD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</p:txBody>
      </p:sp>
      <p:sp>
        <p:nvSpPr>
          <p:cNvPr id="31" name="Rectangle 3"/>
          <p:cNvSpPr txBox="1"/>
          <p:nvPr/>
        </p:nvSpPr>
        <p:spPr>
          <a:xfrm>
            <a:off x="280988" y="6044620"/>
            <a:ext cx="9493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 smtClean="0"/>
              <a:t>1 SHUSA to be designated as the IHC	2 Dates </a:t>
            </a:r>
            <a:r>
              <a:rPr lang="en-US" sz="900" dirty="0"/>
              <a:t>dependent on the implementation plans to be developed as a prior </a:t>
            </a:r>
            <a:r>
              <a:rPr lang="en-US" sz="900" dirty="0" smtClean="0"/>
              <a:t>step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15458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118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805978"/>
            <a:ext cx="9718506" cy="52760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2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1"/>
            <a:ext cx="950208" cy="73256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85298"/>
            <a:ext cx="608648" cy="718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00B050"/>
                </a:solidFill>
              </a:rPr>
              <a:t>10/02/16xx</a:t>
            </a:r>
            <a:r>
              <a:rPr lang="en-US" sz="900" dirty="0" smtClean="0"/>
              <a:t> 09/30/16xx</a:t>
            </a:r>
            <a:endParaRPr lang="en-US" sz="900" dirty="0"/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/>
              <a:t>12/18/15xx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1/02/17xx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4/17xx</a:t>
            </a:r>
            <a:endParaRPr lang="en-US" sz="900" dirty="0"/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0" y="1085298"/>
            <a:ext cx="634009" cy="723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00B050"/>
                </a:solidFill>
              </a:rPr>
              <a:t>08/03/16xx </a:t>
            </a:r>
            <a:endParaRPr lang="en-US" sz="900" dirty="0">
              <a:solidFill>
                <a:srgbClr val="00B050"/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/>
              <a:t>07/01/16xx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6/15/16xx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1/16xx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7/01/16xx</a:t>
            </a:r>
            <a:endParaRPr lang="en-US" sz="9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24541" y="1079523"/>
            <a:ext cx="1160606" cy="4432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spc="-30" dirty="0">
                <a:solidFill>
                  <a:srgbClr val="FF0000"/>
                </a:solidFill>
              </a:rPr>
              <a:t>B. Gunn/C. </a:t>
            </a:r>
            <a:r>
              <a:rPr lang="en-US" sz="900" spc="-30" dirty="0" err="1" smtClean="0">
                <a:solidFill>
                  <a:srgbClr val="FF0000"/>
                </a:solidFill>
              </a:rPr>
              <a:t>Briongosx</a:t>
            </a:r>
            <a:endParaRPr lang="en-US" sz="900" spc="-3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B. Gunn/C. </a:t>
            </a:r>
            <a:r>
              <a:rPr lang="en-US" sz="900" dirty="0" err="1" smtClean="0">
                <a:solidFill>
                  <a:srgbClr val="FF0000"/>
                </a:solidFill>
              </a:rPr>
              <a:t>Briongos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B. Gunn/C. </a:t>
            </a:r>
            <a:r>
              <a:rPr lang="en-US" sz="900" dirty="0" err="1" smtClean="0">
                <a:solidFill>
                  <a:srgbClr val="FF0000"/>
                </a:solidFill>
              </a:rPr>
              <a:t>Briongos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6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. Smith/ R. Parrish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/ R. </a:t>
            </a:r>
            <a:r>
              <a:rPr lang="en-US" sz="900" dirty="0" smtClean="0">
                <a:solidFill>
                  <a:srgbClr val="000000"/>
                </a:solidFill>
              </a:rPr>
              <a:t>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</a:t>
            </a:r>
            <a:r>
              <a:rPr lang="en-US" sz="900" dirty="0" smtClean="0">
                <a:solidFill>
                  <a:srgbClr val="000000"/>
                </a:solidFill>
              </a:rPr>
              <a:t>Parrish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D. </a:t>
            </a:r>
            <a:r>
              <a:rPr lang="en-GB" sz="900" dirty="0" smtClean="0">
                <a:solidFill>
                  <a:srgbClr val="000000"/>
                </a:solidFill>
              </a:rPr>
              <a:t>Allaire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95"/>
          <p:cNvSpPr txBox="1">
            <a:spLocks/>
          </p:cNvSpPr>
          <p:nvPr/>
        </p:nvSpPr>
        <p:spPr>
          <a:xfrm>
            <a:off x="1430456" y="1085299"/>
            <a:ext cx="5841202" cy="716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000000"/>
                </a:solidFill>
              </a:rPr>
              <a:t>Articulate </a:t>
            </a:r>
            <a:r>
              <a:rPr lang="en-US" sz="900" spc="-10" dirty="0">
                <a:solidFill>
                  <a:srgbClr val="000000"/>
                </a:solidFill>
              </a:rPr>
              <a:t>desired risk culture </a:t>
            </a:r>
            <a:r>
              <a:rPr lang="en-US" sz="900" spc="-10" dirty="0">
                <a:solidFill>
                  <a:srgbClr val="00B050"/>
                </a:solidFill>
              </a:rPr>
              <a:t>by setting the “Tone from the Top” and conducting </a:t>
            </a:r>
            <a:r>
              <a:rPr lang="en-US" sz="900" spc="-10" dirty="0" smtClean="0">
                <a:solidFill>
                  <a:srgbClr val="00B050"/>
                </a:solidFill>
              </a:rPr>
              <a:t>a </a:t>
            </a:r>
            <a:r>
              <a:rPr lang="en-US" sz="900" spc="-10" dirty="0" smtClean="0">
                <a:solidFill>
                  <a:srgbClr val="000000"/>
                </a:solidFill>
              </a:rPr>
              <a:t>risk </a:t>
            </a:r>
            <a:r>
              <a:rPr lang="en-US" sz="900" spc="-10" dirty="0">
                <a:solidFill>
                  <a:srgbClr val="000000"/>
                </a:solidFill>
              </a:rPr>
              <a:t>culture assessment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efine multiyear plan to achieve a sound target state risk culture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Assess existing Risk Management Performance Scorecards and identify </a:t>
            </a:r>
            <a:r>
              <a:rPr lang="en-US" sz="900" spc="-10" dirty="0" smtClean="0">
                <a:solidFill>
                  <a:srgbClr val="000000"/>
                </a:solidFill>
              </a:rPr>
              <a:t>gaps 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Rollout systematic performance assessments and risk-based compensation </a:t>
            </a:r>
            <a:r>
              <a:rPr lang="en-US" sz="900" spc="-10" dirty="0" smtClean="0">
                <a:solidFill>
                  <a:srgbClr val="000000"/>
                </a:solidFill>
              </a:rPr>
              <a:t>structures 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iagnose retention challenge and design recruitment and retention mechanisms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</p:txBody>
      </p:sp>
      <p:sp>
        <p:nvSpPr>
          <p:cNvPr id="32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1864893"/>
            <a:ext cx="950208" cy="328985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Appetite Statement (RAS)</a:t>
            </a: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 bwMode="auto">
          <a:xfrm>
            <a:off x="1414385" y="1834479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ctangle 95"/>
          <p:cNvSpPr txBox="1">
            <a:spLocks/>
          </p:cNvSpPr>
          <p:nvPr/>
        </p:nvSpPr>
        <p:spPr>
          <a:xfrm>
            <a:off x="1430456" y="1889753"/>
            <a:ext cx="5841202" cy="3264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00B050"/>
                </a:solidFill>
              </a:rPr>
              <a:t>Develop interim </a:t>
            </a:r>
            <a:r>
              <a:rPr lang="en-US" sz="900" spc="-10" dirty="0">
                <a:solidFill>
                  <a:srgbClr val="00B050"/>
                </a:solidFill>
              </a:rPr>
              <a:t>RAS </a:t>
            </a:r>
            <a:r>
              <a:rPr lang="en-US" sz="900" spc="-10" dirty="0" smtClean="0">
                <a:solidFill>
                  <a:srgbClr val="00B050"/>
                </a:solidFill>
              </a:rPr>
              <a:t>for SBNA and SCUSA, </a:t>
            </a:r>
            <a:r>
              <a:rPr lang="en-US" sz="900" spc="-10" dirty="0">
                <a:solidFill>
                  <a:srgbClr val="00B050"/>
                </a:solidFill>
              </a:rPr>
              <a:t>and begin ongoing </a:t>
            </a:r>
            <a:r>
              <a:rPr lang="en-US" sz="900" spc="-10" dirty="0" smtClean="0">
                <a:solidFill>
                  <a:srgbClr val="00B050"/>
                </a:solidFill>
              </a:rPr>
              <a:t>monitoring </a:t>
            </a:r>
            <a:r>
              <a:rPr lang="en-US" sz="900" spc="-10" dirty="0" smtClean="0">
                <a:solidFill>
                  <a:srgbClr val="00B050"/>
                </a:solidFill>
              </a:rPr>
              <a:t>xx</a:t>
            </a:r>
            <a:endParaRPr lang="en-US" sz="900" spc="-10" dirty="0">
              <a:solidFill>
                <a:srgbClr val="00B050"/>
              </a:solidFill>
            </a:endParaRP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000000"/>
                </a:solidFill>
              </a:rPr>
              <a:t>Develop </a:t>
            </a:r>
            <a:r>
              <a:rPr lang="en-US" sz="900" spc="-10" dirty="0">
                <a:solidFill>
                  <a:srgbClr val="000000"/>
                </a:solidFill>
              </a:rPr>
              <a:t>SHUSA, SBNA, and SCUSA RAS, and obtain </a:t>
            </a:r>
            <a:r>
              <a:rPr lang="en-US" sz="900" spc="-10" dirty="0" smtClean="0">
                <a:solidFill>
                  <a:srgbClr val="000000"/>
                </a:solidFill>
              </a:rPr>
              <a:t>approvals xx</a:t>
            </a:r>
            <a:endParaRPr lang="en-US" sz="900" spc="-10" dirty="0" smtClean="0">
              <a:solidFill>
                <a:srgbClr val="00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velop SHUSA-level RAS (top-down approach</a:t>
            </a:r>
            <a:r>
              <a:rPr lang="en-US" sz="900" spc="-10" dirty="0" smtClean="0">
                <a:solidFill>
                  <a:srgbClr val="707277"/>
                </a:solidFill>
              </a:rPr>
              <a:t>)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velop SBNA- and SCUSA-level RAS (bottom-up approach), ensuring alignment to SHUSA </a:t>
            </a:r>
            <a:r>
              <a:rPr lang="en-US" sz="900" spc="-10" dirty="0" smtClean="0">
                <a:solidFill>
                  <a:srgbClr val="FF0000"/>
                </a:solidFill>
              </a:rPr>
              <a:t>RAS </a:t>
            </a:r>
            <a:r>
              <a:rPr lang="en-US" sz="900" spc="-10" dirty="0" smtClean="0">
                <a:solidFill>
                  <a:srgbClr val="FF0000"/>
                </a:solidFill>
              </a:rPr>
              <a:t>xx</a:t>
            </a:r>
            <a:endParaRPr lang="en-US" sz="900" spc="-10" dirty="0">
              <a:solidFill>
                <a:srgbClr val="FF0000"/>
              </a:solidFill>
            </a:endParaRP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Establish related processes and documentation for ongoing management of RAS (e.g. breach escalation and remediation process – including consequences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Secure Board approval of SHUSA, SBNA, and SCUSA </a:t>
            </a:r>
            <a:r>
              <a:rPr lang="en-US" sz="900" spc="-10" dirty="0" smtClean="0">
                <a:solidFill>
                  <a:srgbClr val="FF0000"/>
                </a:solidFill>
              </a:rPr>
              <a:t>RAS </a:t>
            </a:r>
            <a:r>
              <a:rPr lang="en-US" sz="900" spc="-10" dirty="0" smtClean="0">
                <a:solidFill>
                  <a:srgbClr val="FF0000"/>
                </a:solidFill>
              </a:rPr>
              <a:t>xx</a:t>
            </a:r>
            <a:endParaRPr lang="en-US" sz="900" spc="-10" dirty="0" smtClean="0">
              <a:solidFill>
                <a:srgbClr val="FF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mmunicate </a:t>
            </a:r>
            <a:r>
              <a:rPr lang="en-US" sz="900" spc="-10" dirty="0">
                <a:solidFill>
                  <a:srgbClr val="00B050"/>
                </a:solidFill>
              </a:rPr>
              <a:t>Board-approved</a:t>
            </a:r>
            <a:r>
              <a:rPr lang="en-US" sz="900" spc="-10" dirty="0">
                <a:solidFill>
                  <a:srgbClr val="000000"/>
                </a:solidFill>
              </a:rPr>
              <a:t> SHUSA, SBNA, and SCUSA RAS to </a:t>
            </a:r>
            <a:r>
              <a:rPr lang="en-US" sz="900" spc="-10" dirty="0" smtClean="0">
                <a:solidFill>
                  <a:srgbClr val="000000"/>
                </a:solidFill>
              </a:rPr>
              <a:t>enterprise </a:t>
            </a:r>
            <a:r>
              <a:rPr lang="en-US" sz="900" spc="-10" dirty="0" smtClean="0">
                <a:solidFill>
                  <a:srgbClr val="000000"/>
                </a:solidFill>
              </a:rPr>
              <a:t>xx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RAS for remaining subsidiaries (NY, Puerto Rico, Miami) and obtain approval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NY RAS design and approval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Puerto Rico RAS design and approval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Miami RAS design and approval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Initiate embedding of RAS in material SHUSA processes  and plan for embedding RAS across the enterprise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dentify  key processes (e.g. strategic planning, capital planning) and update process maps with explicit RAS link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nitiate implementation of RAS in all material processes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ascade the risk appetite statement for the remainder of subsidiaries and business units and ensure alignment with overall SHUSA risk appetite statement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ascade the embedding of the risk appetite statement for key processes across the organization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ommunicate risk appetite statement throughout the enterprise, including training in the new escalation and remediation process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Periodically enhance risk appetite statement based on the latest results of material risk identification and improved risk measurement across the enterprise; including incorporation of risk-based capital </a:t>
            </a:r>
            <a:r>
              <a:rPr lang="en-US" sz="900" spc="-10" dirty="0" smtClean="0">
                <a:solidFill>
                  <a:srgbClr val="000000"/>
                </a:solidFill>
              </a:rPr>
              <a:t>metrics</a:t>
            </a:r>
            <a:endParaRPr lang="en-US" sz="900" spc="-10" dirty="0">
              <a:solidFill>
                <a:srgbClr val="000000"/>
              </a:solidFill>
            </a:endParaRPr>
          </a:p>
        </p:txBody>
      </p:sp>
      <p:sp>
        <p:nvSpPr>
          <p:cNvPr id="35" name="Rectangle 95"/>
          <p:cNvSpPr txBox="1">
            <a:spLocks/>
          </p:cNvSpPr>
          <p:nvPr/>
        </p:nvSpPr>
        <p:spPr>
          <a:xfrm>
            <a:off x="7369490" y="1889753"/>
            <a:ext cx="706009" cy="3177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70C0"/>
                </a:solidFill>
              </a:rPr>
              <a:t>06/08/15xx</a:t>
            </a:r>
            <a:endParaRPr lang="en-US" sz="900" dirty="0" smtClean="0">
              <a:solidFill>
                <a:srgbClr val="0070C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6/08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0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6/08/15xx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31/15xx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>
                <a:solidFill>
                  <a:srgbClr val="00B050"/>
                </a:solidFill>
              </a:rPr>
              <a:t>12/01/15xx</a:t>
            </a:r>
            <a:endParaRPr lang="en-US" sz="900" dirty="0">
              <a:solidFill>
                <a:srgbClr val="00B050"/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2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/>
              <a:t>11/02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11/30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4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10/03/16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15963" y="1889753"/>
            <a:ext cx="782979" cy="3177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0070C0"/>
                </a:solidFill>
              </a:rPr>
              <a:t>09/30/15xx</a:t>
            </a:r>
            <a:endParaRPr lang="en-US" sz="900" dirty="0" smtClean="0">
              <a:solidFill>
                <a:srgbClr val="0070C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12/31/15xx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2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20/15xx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20/15xx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/31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02/24/16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1/12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11/27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1/12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09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7</a:t>
            </a:r>
            <a:endParaRPr lang="en-US" sz="900" dirty="0"/>
          </a:p>
        </p:txBody>
      </p:sp>
      <p:sp>
        <p:nvSpPr>
          <p:cNvPr id="28" name="TextBox 15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69233" y="5210742"/>
            <a:ext cx="950208" cy="80981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</a:t>
            </a:r>
            <a:r>
              <a:rPr lang="en-US" sz="900" b="1" dirty="0" smtClean="0">
                <a:solidFill>
                  <a:srgbClr val="FFFFFF"/>
                </a:solidFill>
              </a:rPr>
              <a:t>ID &amp; Measurement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29" name="Rectangle 95"/>
          <p:cNvSpPr txBox="1">
            <a:spLocks/>
          </p:cNvSpPr>
          <p:nvPr/>
        </p:nvSpPr>
        <p:spPr>
          <a:xfrm>
            <a:off x="8023979" y="5184194"/>
            <a:ext cx="2482995" cy="74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FF0000"/>
                </a:solidFill>
              </a:rPr>
              <a:t>01/15/16xx</a:t>
            </a:r>
            <a:endParaRPr lang="en-GB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707277"/>
                </a:solidFill>
              </a:rPr>
              <a:t>05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b="1" u="sng" dirty="0" smtClean="0">
                <a:solidFill>
                  <a:srgbClr val="FF0000"/>
                </a:solidFill>
              </a:rPr>
              <a:t>10/02/15 push out 1 month for all</a:t>
            </a:r>
            <a:r>
              <a:rPr lang="en-GB" sz="900" b="1" u="sng" dirty="0" smtClean="0">
                <a:solidFill>
                  <a:srgbClr val="FF0000"/>
                </a:solidFill>
              </a:rPr>
              <a:t>??xx</a:t>
            </a:r>
            <a:endParaRPr lang="en-GB" sz="900" b="1" u="sng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707277"/>
                </a:solidFill>
              </a:rPr>
              <a:t>07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b="1" u="sng" dirty="0">
                <a:solidFill>
                  <a:srgbClr val="FF0000"/>
                </a:solidFill>
              </a:rPr>
              <a:t>10/02/15 </a:t>
            </a:r>
            <a:r>
              <a:rPr lang="en-GB" sz="900" b="1" u="sng" dirty="0" smtClean="0">
                <a:solidFill>
                  <a:srgbClr val="FF0000"/>
                </a:solidFill>
              </a:rPr>
              <a:t>push </a:t>
            </a:r>
            <a:r>
              <a:rPr lang="en-GB" sz="900" b="1" u="sng" dirty="0">
                <a:solidFill>
                  <a:srgbClr val="FF0000"/>
                </a:solidFill>
              </a:rPr>
              <a:t>out 1 month for all</a:t>
            </a:r>
            <a:r>
              <a:rPr lang="en-GB" sz="900" b="1" u="sng" dirty="0" smtClean="0">
                <a:solidFill>
                  <a:srgbClr val="FF0000"/>
                </a:solidFill>
              </a:rPr>
              <a:t>??xx</a:t>
            </a:r>
            <a:endParaRPr lang="en-GB" sz="900" b="1" u="sng" dirty="0">
              <a:solidFill>
                <a:srgbClr val="FF0000"/>
              </a:solidFill>
            </a:endParaRPr>
          </a:p>
        </p:txBody>
      </p:sp>
      <p:sp>
        <p:nvSpPr>
          <p:cNvPr id="37" name="Rectangle 95"/>
          <p:cNvSpPr txBox="1">
            <a:spLocks/>
          </p:cNvSpPr>
          <p:nvPr/>
        </p:nvSpPr>
        <p:spPr>
          <a:xfrm>
            <a:off x="7377507" y="5184194"/>
            <a:ext cx="625992" cy="74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2/02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707277"/>
                </a:solidFill>
              </a:rPr>
              <a:t>02/02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707277"/>
                </a:solidFill>
              </a:rPr>
              <a:t>05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707277"/>
                </a:solidFill>
              </a:rPr>
              <a:t>05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b="1" u="sng" dirty="0" smtClean="0">
                <a:solidFill>
                  <a:srgbClr val="FF0000"/>
                </a:solidFill>
              </a:rPr>
              <a:t>08/03/15xx</a:t>
            </a:r>
            <a:endParaRPr lang="en-GB" sz="900" b="1" u="sng" dirty="0">
              <a:solidFill>
                <a:srgbClr val="FF0000"/>
              </a:solidFill>
            </a:endParaRPr>
          </a:p>
        </p:txBody>
      </p:sp>
      <p:sp>
        <p:nvSpPr>
          <p:cNvPr id="38" name="Rectangle 95"/>
          <p:cNvSpPr txBox="1">
            <a:spLocks/>
          </p:cNvSpPr>
          <p:nvPr/>
        </p:nvSpPr>
        <p:spPr>
          <a:xfrm>
            <a:off x="1438472" y="5196227"/>
            <a:ext cx="5841202" cy="882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and execute the Material Risk Program across SHUSA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707277"/>
                </a:solidFill>
              </a:rPr>
              <a:t>Design </a:t>
            </a:r>
            <a:r>
              <a:rPr lang="en-US" sz="900" dirty="0">
                <a:solidFill>
                  <a:srgbClr val="707277"/>
                </a:solidFill>
              </a:rPr>
              <a:t>material risk program and obtain approvals (incl. risk taxonomy, tools, templates, guidance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reate risk inventory for the Subsidiaries / Business Entities and hold workshops for aggregation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Compile Business Line / Segment Material Risk Inventory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Hold Subsidiary  / Business Entity Aggregation Workshops (include 2nd LOD challenge) and Governance (Material Risk Inventory Reviews / Approvals)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431745" y="5150583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Freeform 39"/>
          <p:cNvSpPr/>
          <p:nvPr/>
        </p:nvSpPr>
        <p:spPr bwMode="auto">
          <a:xfrm>
            <a:off x="8508665" y="5343094"/>
            <a:ext cx="144000" cy="108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dirty="0" smtClean="0">
              <a:solidFill>
                <a:srgbClr val="707277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2877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39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>
            <a:spLocks/>
          </p:cNvSpPr>
          <p:nvPr/>
        </p:nvSpPr>
        <p:spPr>
          <a:xfrm>
            <a:off x="278934" y="803168"/>
            <a:ext cx="9718506" cy="528958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3/4)</a:t>
            </a:r>
            <a:endParaRPr lang="en-US" dirty="0"/>
          </a:p>
        </p:txBody>
      </p:sp>
      <p:sp>
        <p:nvSpPr>
          <p:cNvPr id="14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5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87781"/>
            <a:ext cx="950208" cy="284350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>
                <a:solidFill>
                  <a:srgbClr val="FFFFFF"/>
                </a:solidFill>
              </a:rPr>
              <a:t>Risk ID &amp; Measurement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430456" y="2305669"/>
            <a:ext cx="8460795" cy="743793"/>
            <a:chOff x="1430456" y="1075749"/>
            <a:chExt cx="8460795" cy="743793"/>
          </a:xfrm>
        </p:grpSpPr>
        <p:sp>
          <p:nvSpPr>
            <p:cNvPr id="30" name="Rectangle 95"/>
            <p:cNvSpPr txBox="1">
              <a:spLocks/>
            </p:cNvSpPr>
            <p:nvPr/>
          </p:nvSpPr>
          <p:spPr>
            <a:xfrm>
              <a:off x="1430456" y="1075749"/>
              <a:ext cx="5841202" cy="730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eview </a:t>
              </a:r>
              <a:r>
                <a:rPr lang="en-US" sz="900" dirty="0">
                  <a:solidFill>
                    <a:srgbClr val="000000"/>
                  </a:solidFill>
                </a:rPr>
                <a:t>Foundational Risk ID Processes and Build Multi-Year Enhancement Objectiv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Assess 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es and ensure complete foundational risk inventory is in place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Review </a:t>
              </a:r>
              <a:r>
                <a:rPr lang="en-US" sz="900" dirty="0">
                  <a:solidFill>
                    <a:srgbClr val="707277"/>
                  </a:solidFill>
                </a:rPr>
                <a:t>each Foundational Risk Process, identify deficient processes, and use gap analyses to determine how to optimize process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Develop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 remediation plan</a:t>
              </a:r>
            </a:p>
          </p:txBody>
        </p:sp>
        <p:sp>
          <p:nvSpPr>
            <p:cNvPr id="31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1/1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18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2/01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  <p:sp>
          <p:nvSpPr>
            <p:cNvPr id="32" name="Rectangle 95"/>
            <p:cNvSpPr txBox="1">
              <a:spLocks/>
            </p:cNvSpPr>
            <p:nvPr/>
          </p:nvSpPr>
          <p:spPr>
            <a:xfrm>
              <a:off x="8977882" y="1075749"/>
              <a:ext cx="91336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</p:txBody>
        </p:sp>
        <p:sp>
          <p:nvSpPr>
            <p:cNvPr id="36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3/2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29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28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430456" y="3085086"/>
            <a:ext cx="8460795" cy="882293"/>
            <a:chOff x="1430456" y="1075749"/>
            <a:chExt cx="8460795" cy="882293"/>
          </a:xfrm>
        </p:grpSpPr>
        <p:sp>
          <p:nvSpPr>
            <p:cNvPr id="38" name="Rectangle 95"/>
            <p:cNvSpPr txBox="1">
              <a:spLocks/>
            </p:cNvSpPr>
            <p:nvPr/>
          </p:nvSpPr>
          <p:spPr>
            <a:xfrm>
              <a:off x="1430456" y="1075749"/>
              <a:ext cx="5841202" cy="882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</a:t>
              </a:r>
              <a:r>
                <a:rPr lang="en-US" sz="900" dirty="0" err="1" smtClean="0">
                  <a:solidFill>
                    <a:srgbClr val="000000"/>
                  </a:solidFill>
                </a:rPr>
                <a:t>SHUSA</a:t>
              </a:r>
              <a:r>
                <a:rPr lang="en-US" sz="900" dirty="0" smtClean="0">
                  <a:solidFill>
                    <a:srgbClr val="000000"/>
                  </a:solidFill>
                </a:rPr>
                <a:t> Risk </a:t>
              </a:r>
              <a:r>
                <a:rPr lang="en-US" sz="900" dirty="0">
                  <a:solidFill>
                    <a:srgbClr val="000000"/>
                  </a:solidFill>
                </a:rPr>
                <a:t>taxonomy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material risk inventory template and guidance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Develop training materials, policies and procedures based on updated Material Risk Program </a:t>
              </a:r>
              <a:r>
                <a:rPr lang="en-US" sz="900" dirty="0" smtClean="0">
                  <a:solidFill>
                    <a:srgbClr val="000000"/>
                  </a:solidFill>
                </a:rPr>
                <a:t>process </a:t>
              </a:r>
              <a:endParaRPr lang="en-US" sz="900" dirty="0">
                <a:solidFill>
                  <a:srgbClr val="000000"/>
                </a:solidFill>
              </a:endParaRP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Identify technology needs, requirements definition and implementation planning to support risk identification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Develop and implement planned data and technology solutions (e.g. automated interface for risk inventory template, database for foundational inputs and data sources for risk identification, etc.)</a:t>
              </a:r>
            </a:p>
          </p:txBody>
        </p:sp>
        <p:sp>
          <p:nvSpPr>
            <p:cNvPr id="39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1/30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1/04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2/08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5/16/16xx</a:t>
              </a:r>
              <a:endParaRPr lang="en-GB" sz="900" dirty="0" smtClean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5/16/16xx</a:t>
              </a:r>
              <a:endParaRPr lang="en-GB" sz="900" dirty="0">
                <a:solidFill>
                  <a:srgbClr val="FF0000"/>
                </a:solidFill>
              </a:endParaRPr>
            </a:p>
          </p:txBody>
        </p:sp>
        <p:sp>
          <p:nvSpPr>
            <p:cNvPr id="40" name="Rectangle 95"/>
            <p:cNvSpPr txBox="1">
              <a:spLocks/>
            </p:cNvSpPr>
            <p:nvPr/>
          </p:nvSpPr>
          <p:spPr>
            <a:xfrm>
              <a:off x="8977882" y="1075749"/>
              <a:ext cx="913369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1/01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2/05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5/13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7/22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1/13/17xx</a:t>
              </a:r>
              <a:endParaRPr lang="en-GB" sz="900" dirty="0">
                <a:solidFill>
                  <a:srgbClr val="FF0000"/>
                </a:solidFill>
              </a:endParaRPr>
            </a:p>
          </p:txBody>
        </p:sp>
      </p:grpSp>
      <p:sp>
        <p:nvSpPr>
          <p:cNvPr id="43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4044534"/>
            <a:ext cx="950208" cy="195195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1423529" y="4008438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95"/>
          <p:cNvSpPr txBox="1">
            <a:spLocks/>
          </p:cNvSpPr>
          <p:nvPr/>
        </p:nvSpPr>
        <p:spPr>
          <a:xfrm>
            <a:off x="1430456" y="4091548"/>
            <a:ext cx="5841202" cy="1638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nalyze and remediate gaps in liquidity risk management (“LRM”) against IHC requirement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sign Liquidity Stress Test Challenge Process Framework and get </a:t>
            </a:r>
            <a:r>
              <a:rPr lang="en-US" sz="900" dirty="0" smtClean="0">
                <a:solidFill>
                  <a:srgbClr val="000000"/>
                </a:solidFill>
              </a:rPr>
              <a:t>approvals xx</a:t>
            </a:r>
            <a:endParaRPr lang="en-US" sz="900" dirty="0">
              <a:solidFill>
                <a:srgbClr val="000000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Perform high-level review and revision of wholesale credit process limits and controls and delegation of authority at SCUSA and </a:t>
            </a:r>
            <a:r>
              <a:rPr lang="en-US" sz="900" dirty="0" smtClean="0">
                <a:solidFill>
                  <a:srgbClr val="000000"/>
                </a:solidFill>
              </a:rPr>
              <a:t>SBNA xx</a:t>
            </a:r>
            <a:endParaRPr lang="en-US" sz="900" dirty="0">
              <a:solidFill>
                <a:srgbClr val="000000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ollout Commercial Risk </a:t>
            </a:r>
            <a:r>
              <a:rPr lang="en-US" sz="900" dirty="0" smtClean="0">
                <a:solidFill>
                  <a:srgbClr val="000000"/>
                </a:solidFill>
              </a:rPr>
              <a:t>Ratings xx</a:t>
            </a:r>
            <a:endParaRPr lang="en-US" sz="900" dirty="0">
              <a:solidFill>
                <a:srgbClr val="00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Establish governance and oversight on commercial risk ratings </a:t>
            </a:r>
            <a:r>
              <a:rPr lang="en-US" sz="900" dirty="0" smtClean="0">
                <a:solidFill>
                  <a:srgbClr val="707277"/>
                </a:solidFill>
              </a:rPr>
              <a:t>governance x</a:t>
            </a:r>
            <a:endParaRPr lang="en-US" sz="900" dirty="0">
              <a:solidFill>
                <a:srgbClr val="707277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Rollout redesigned CRE rating </a:t>
            </a:r>
            <a:r>
              <a:rPr lang="en-US" sz="900" dirty="0" smtClean="0">
                <a:solidFill>
                  <a:srgbClr val="707277"/>
                </a:solidFill>
              </a:rPr>
              <a:t>models x</a:t>
            </a:r>
            <a:endParaRPr lang="en-US" sz="900" dirty="0">
              <a:solidFill>
                <a:srgbClr val="707277"/>
              </a:solidFill>
            </a:endParaRP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model development and validation (refer to Model Dev. / Model Risk workstream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UAT / pilot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esting x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end-user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raining x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initial model implementation /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ollout x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9" name="Rectangle 95"/>
          <p:cNvSpPr txBox="1">
            <a:spLocks/>
          </p:cNvSpPr>
          <p:nvPr/>
        </p:nvSpPr>
        <p:spPr>
          <a:xfrm>
            <a:off x="8025445" y="4091548"/>
            <a:ext cx="864085" cy="1651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12/31/15</a:t>
            </a:r>
            <a:r>
              <a:rPr lang="en-US" sz="900" dirty="0" smtClean="0">
                <a:solidFill>
                  <a:srgbClr val="000000"/>
                </a:solidFill>
              </a:rPr>
              <a:t>xx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3/31/16</a:t>
            </a:r>
            <a:r>
              <a:rPr lang="en-US" sz="900" dirty="0" smtClean="0">
                <a:solidFill>
                  <a:srgbClr val="000000"/>
                </a:solidFill>
              </a:rPr>
              <a:t>xx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b="1" u="sng" dirty="0" smtClean="0">
                <a:solidFill>
                  <a:srgbClr val="FF0000"/>
                </a:solidFill>
              </a:rPr>
              <a:t>0</a:t>
            </a:r>
            <a:r>
              <a:rPr lang="en-US" sz="900" b="1" u="sng" dirty="0" smtClean="0">
                <a:solidFill>
                  <a:srgbClr val="FF0000"/>
                </a:solidFill>
              </a:rPr>
              <a:t>8</a:t>
            </a:r>
            <a:r>
              <a:rPr lang="pl-PL" sz="900" b="1" u="sng" dirty="0" smtClean="0">
                <a:solidFill>
                  <a:srgbClr val="FF0000"/>
                </a:solidFill>
              </a:rPr>
              <a:t>/1</a:t>
            </a:r>
            <a:r>
              <a:rPr lang="en-US" sz="900" b="1" u="sng" dirty="0" smtClean="0">
                <a:solidFill>
                  <a:srgbClr val="FF0000"/>
                </a:solidFill>
              </a:rPr>
              <a:t>2</a:t>
            </a:r>
            <a:r>
              <a:rPr lang="pl-PL" sz="900" b="1" u="sng" dirty="0" smtClean="0">
                <a:solidFill>
                  <a:srgbClr val="FF0000"/>
                </a:solidFill>
              </a:rPr>
              <a:t>/16</a:t>
            </a:r>
            <a:r>
              <a:rPr lang="en-US" sz="900" b="1" u="sng" dirty="0">
                <a:solidFill>
                  <a:srgbClr val="FF0000"/>
                </a:solidFill>
              </a:rPr>
              <a:t> </a:t>
            </a:r>
            <a:r>
              <a:rPr lang="en-US" sz="900" b="1" u="sng" dirty="0" smtClean="0">
                <a:solidFill>
                  <a:srgbClr val="FF0000"/>
                </a:solidFill>
              </a:rPr>
              <a:t>xx</a:t>
            </a:r>
            <a:endParaRPr lang="pl-PL" sz="900" b="1" u="sng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7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r>
              <a:rPr lang="en-GB" sz="900" baseline="30000" dirty="0">
                <a:solidFill>
                  <a:srgbClr val="FFFFFF">
                    <a:lumMod val="50000"/>
                  </a:srgbClr>
                </a:solidFill>
              </a:rPr>
              <a:t>1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4/01/16xx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5/27/16xx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5/06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0" name="Rectangle 95"/>
          <p:cNvSpPr txBox="1">
            <a:spLocks/>
          </p:cNvSpPr>
          <p:nvPr/>
        </p:nvSpPr>
        <p:spPr>
          <a:xfrm>
            <a:off x="7360011" y="4091548"/>
            <a:ext cx="577081" cy="1651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6/01/15</a:t>
            </a:r>
            <a:r>
              <a:rPr lang="en-US" sz="900" dirty="0" smtClean="0">
                <a:solidFill>
                  <a:srgbClr val="000000"/>
                </a:solidFill>
              </a:rPr>
              <a:t>xx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2/01/16</a:t>
            </a:r>
            <a:r>
              <a:rPr lang="en-US" sz="900" dirty="0" smtClean="0">
                <a:solidFill>
                  <a:srgbClr val="000000"/>
                </a:solidFill>
              </a:rPr>
              <a:t>xx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5/04/14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6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r>
              <a:rPr lang="en-GB" sz="900" baseline="30000" dirty="0" smtClean="0">
                <a:solidFill>
                  <a:srgbClr val="FFFFFF">
                    <a:lumMod val="50000"/>
                  </a:srgbClr>
                </a:solidFill>
              </a:rPr>
              <a:t>1</a:t>
            </a:r>
            <a:endParaRPr lang="pl-PL" sz="900" baseline="300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2</a:t>
            </a: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/01/1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6xx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2</a:t>
            </a: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/01/1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6xx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4/04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1" name="Rectangle 95"/>
          <p:cNvSpPr txBox="1">
            <a:spLocks/>
          </p:cNvSpPr>
          <p:nvPr/>
        </p:nvSpPr>
        <p:spPr>
          <a:xfrm>
            <a:off x="8977882" y="4091548"/>
            <a:ext cx="1019558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/ M. Lass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J</a:t>
            </a:r>
            <a:r>
              <a:rPr lang="es-ES" sz="900" dirty="0">
                <a:solidFill>
                  <a:srgbClr val="000000"/>
                </a:solidFill>
              </a:rPr>
              <a:t>. Hennessy / C. Cuerv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D</a:t>
            </a:r>
            <a:r>
              <a:rPr lang="es-ES" sz="900" dirty="0">
                <a:solidFill>
                  <a:srgbClr val="000000"/>
                </a:solidFill>
              </a:rPr>
              <a:t>. Spector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 txBox="1"/>
          <p:nvPr/>
        </p:nvSpPr>
        <p:spPr>
          <a:xfrm>
            <a:off x="280988" y="6044620"/>
            <a:ext cx="9493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/>
              <a:t>1 </a:t>
            </a:r>
            <a:r>
              <a:rPr lang="en-US" sz="900" dirty="0" smtClean="0"/>
              <a:t>Refer to Model Development and Model Risk Management </a:t>
            </a:r>
            <a:r>
              <a:rPr lang="en-US" sz="900" dirty="0" err="1" smtClean="0"/>
              <a:t>workstreams</a:t>
            </a:r>
            <a:r>
              <a:rPr lang="en-US" sz="900" dirty="0" smtClean="0"/>
              <a:t> for relevant dates on development and validation</a:t>
            </a:r>
            <a:endParaRPr lang="en-US" sz="900" dirty="0"/>
          </a:p>
        </p:txBody>
      </p:sp>
      <p:grpSp>
        <p:nvGrpSpPr>
          <p:cNvPr id="64" name="Group 63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65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66" name="Freeform 65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426440" y="1110485"/>
            <a:ext cx="8460795" cy="1184940"/>
            <a:chOff x="1430456" y="1075749"/>
            <a:chExt cx="8460795" cy="1184940"/>
          </a:xfrm>
        </p:grpSpPr>
        <p:sp>
          <p:nvSpPr>
            <p:cNvPr id="42" name="Rectangle 95"/>
            <p:cNvSpPr txBox="1">
              <a:spLocks/>
            </p:cNvSpPr>
            <p:nvPr/>
          </p:nvSpPr>
          <p:spPr>
            <a:xfrm>
              <a:off x="1430456" y="1075749"/>
              <a:ext cx="5841202" cy="1184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707277"/>
                  </a:solidFill>
                </a:rPr>
                <a:t>Create risk inventory for the SHUSA, hold workshops for </a:t>
              </a:r>
              <a:r>
                <a:rPr lang="en-US" sz="900" dirty="0" smtClean="0">
                  <a:solidFill>
                    <a:srgbClr val="707277"/>
                  </a:solidFill>
                </a:rPr>
                <a:t>aggregation 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Preparation for Aggregation to create SHUSA Material Risk </a:t>
              </a:r>
              <a:r>
                <a:rPr lang="en-US" sz="900" dirty="0" smtClean="0">
                  <a:solidFill>
                    <a:srgbClr val="707277"/>
                  </a:solidFill>
                </a:rPr>
                <a:t>Inventory 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Hold SHUSA Aggregation Workshops (include 2nd LOD challenge</a:t>
              </a:r>
              <a:r>
                <a:rPr lang="en-US" sz="900" dirty="0" smtClean="0">
                  <a:solidFill>
                    <a:srgbClr val="707277"/>
                  </a:solidFill>
                </a:rPr>
                <a:t>) 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Execute on SHUSA Top Down Aggregation (1st and 2nd LOD executive challenge</a:t>
              </a:r>
              <a:r>
                <a:rPr lang="en-US" sz="900" dirty="0" smtClean="0">
                  <a:solidFill>
                    <a:srgbClr val="707277"/>
                  </a:solidFill>
                </a:rPr>
                <a:t>) 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Obtain approvals for Material Risks of SHUSA (final aggregation, Board and Management review and challenge</a:t>
              </a:r>
              <a:r>
                <a:rPr lang="en-US" sz="900" dirty="0" smtClean="0">
                  <a:solidFill>
                    <a:srgbClr val="707277"/>
                  </a:solidFill>
                </a:rPr>
                <a:t>) 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Draft Risk ID and Assessment Policy and obtain </a:t>
              </a:r>
              <a:r>
                <a:rPr lang="en-US" sz="900" dirty="0" smtClean="0">
                  <a:solidFill>
                    <a:srgbClr val="707277"/>
                  </a:solidFill>
                </a:rPr>
                <a:t>approvals</a:t>
              </a:r>
              <a:endParaRPr lang="en-US" sz="900" dirty="0">
                <a:solidFill>
                  <a:srgbClr val="707277"/>
                </a:solidFill>
              </a:endParaRPr>
            </a:p>
            <a:p>
              <a:pPr marL="463550" lvl="2" indent="-17145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Char char="•"/>
              </a:pPr>
              <a:r>
                <a:rPr lang="en-US" sz="900" dirty="0">
                  <a:solidFill>
                    <a:srgbClr val="707277"/>
                  </a:solidFill>
                </a:rPr>
                <a:t>Establish clear linkage of MRP outputs to capital planning scenario design process</a:t>
              </a:r>
            </a:p>
          </p:txBody>
        </p:sp>
        <p:sp>
          <p:nvSpPr>
            <p:cNvPr id="44" name="Rectangle 95"/>
            <p:cNvSpPr txBox="1">
              <a:spLocks/>
            </p:cNvSpPr>
            <p:nvPr/>
          </p:nvSpPr>
          <p:spPr>
            <a:xfrm>
              <a:off x="7360011" y="1075749"/>
              <a:ext cx="577081" cy="11515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05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05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12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26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1/09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endParaRPr lang="en-GB" sz="6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26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12/15xx</a:t>
              </a:r>
              <a:endParaRPr lang="en-GB" sz="900" dirty="0">
                <a:solidFill>
                  <a:srgbClr val="FF0000"/>
                </a:solidFill>
              </a:endParaRPr>
            </a:p>
          </p:txBody>
        </p:sp>
        <p:sp>
          <p:nvSpPr>
            <p:cNvPr id="46" name="Rectangle 95"/>
            <p:cNvSpPr txBox="1">
              <a:spLocks/>
            </p:cNvSpPr>
            <p:nvPr/>
          </p:nvSpPr>
          <p:spPr>
            <a:xfrm>
              <a:off x="8977882" y="1075749"/>
              <a:ext cx="91336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95"/>
            <p:cNvSpPr txBox="1">
              <a:spLocks/>
            </p:cNvSpPr>
            <p:nvPr/>
          </p:nvSpPr>
          <p:spPr>
            <a:xfrm>
              <a:off x="8025445" y="1075749"/>
              <a:ext cx="864085" cy="11515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1/15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19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0/26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1/09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2/04/15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endParaRPr lang="en-GB" sz="6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01/15/16xx</a:t>
              </a:r>
              <a:endParaRPr lang="en-GB" sz="900" dirty="0">
                <a:solidFill>
                  <a:srgbClr val="FF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FF0000"/>
                  </a:solidFill>
                </a:rPr>
                <a:t>12/04/15xx</a:t>
              </a:r>
              <a:endParaRPr lang="en-GB" sz="900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92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61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>
            <a:spLocks/>
          </p:cNvSpPr>
          <p:nvPr/>
        </p:nvSpPr>
        <p:spPr>
          <a:xfrm>
            <a:off x="278934" y="806574"/>
            <a:ext cx="9718506" cy="528617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4/4)</a:t>
            </a:r>
            <a:endParaRPr lang="en-US" dirty="0"/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0"/>
            <a:ext cx="950208" cy="145017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sp>
        <p:nvSpPr>
          <p:cNvPr id="16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95"/>
          <p:cNvSpPr txBox="1">
            <a:spLocks/>
          </p:cNvSpPr>
          <p:nvPr/>
        </p:nvSpPr>
        <p:spPr>
          <a:xfrm>
            <a:off x="1430456" y="1075749"/>
            <a:ext cx="5841202" cy="148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Rollout redesigned C&amp;I rating models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&amp;I model development and validation (refer to Model Dev. / Model Risk </a:t>
            </a:r>
            <a:r>
              <a:rPr lang="en-US" sz="900" dirty="0" err="1">
                <a:solidFill>
                  <a:srgbClr val="707277"/>
                </a:solidFill>
              </a:rPr>
              <a:t>workstreams</a:t>
            </a:r>
            <a:r>
              <a:rPr lang="en-US" sz="900" dirty="0">
                <a:solidFill>
                  <a:srgbClr val="707277"/>
                </a:solidFill>
              </a:rPr>
              <a:t>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&amp;I UAT / pilot test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&amp;I end-user train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&amp;I initial model implementation / rollout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reate requirement definitions for technology solution or CRE and C&amp;I model </a:t>
            </a:r>
            <a:r>
              <a:rPr lang="en-US" sz="900" dirty="0" smtClean="0">
                <a:solidFill>
                  <a:srgbClr val="707277"/>
                </a:solidFill>
              </a:rPr>
              <a:t>implementation x</a:t>
            </a:r>
            <a:endParaRPr lang="en-US" sz="900" dirty="0">
              <a:solidFill>
                <a:srgbClr val="707277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Develop and implement technology solution for CRE and C&amp;I </a:t>
            </a:r>
            <a:r>
              <a:rPr lang="en-US" sz="900" dirty="0" smtClean="0">
                <a:solidFill>
                  <a:srgbClr val="707277"/>
                </a:solidFill>
              </a:rPr>
              <a:t>models) x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0000"/>
                </a:solidFill>
              </a:rPr>
              <a:t>Conduct </a:t>
            </a:r>
            <a:r>
              <a:rPr lang="en-US" sz="900" dirty="0">
                <a:solidFill>
                  <a:srgbClr val="FF0000"/>
                </a:solidFill>
              </a:rPr>
              <a:t>gap analyses across risk types focusing on methodology, tools, processes, and expectations as defined by the operating model and benchmark to industry </a:t>
            </a:r>
            <a:r>
              <a:rPr lang="en-US" sz="900" dirty="0" smtClean="0">
                <a:solidFill>
                  <a:srgbClr val="FF0000"/>
                </a:solidFill>
              </a:rPr>
              <a:t>practice xx</a:t>
            </a:r>
            <a:endParaRPr lang="en-US" sz="900" dirty="0">
              <a:solidFill>
                <a:srgbClr val="FF0000"/>
              </a:solidFill>
            </a:endParaRPr>
          </a:p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b="1" u="sng" dirty="0" smtClean="0">
                <a:solidFill>
                  <a:srgbClr val="000000"/>
                </a:solidFill>
              </a:rPr>
              <a:t>Create </a:t>
            </a:r>
            <a:r>
              <a:rPr lang="en-US" sz="900" b="1" u="sng" dirty="0">
                <a:solidFill>
                  <a:srgbClr val="000000"/>
                </a:solidFill>
              </a:rPr>
              <a:t>remediation plans to address gaps and initiate remediation </a:t>
            </a:r>
            <a:r>
              <a:rPr lang="en-US" sz="900" b="1" u="sng" dirty="0" smtClean="0">
                <a:solidFill>
                  <a:srgbClr val="000000"/>
                </a:solidFill>
              </a:rPr>
              <a:t>actions xx</a:t>
            </a:r>
            <a:endParaRPr lang="en-US" sz="900" b="1" u="sng" dirty="0">
              <a:solidFill>
                <a:srgbClr val="000000"/>
              </a:solidFill>
            </a:endParaRPr>
          </a:p>
        </p:txBody>
      </p:sp>
      <p:sp>
        <p:nvSpPr>
          <p:cNvPr id="28" name="Rectangle 95"/>
          <p:cNvSpPr txBox="1">
            <a:spLocks/>
          </p:cNvSpPr>
          <p:nvPr/>
        </p:nvSpPr>
        <p:spPr>
          <a:xfrm>
            <a:off x="8025445" y="1075749"/>
            <a:ext cx="864085" cy="1500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TBC</a:t>
            </a:r>
            <a:r>
              <a:rPr lang="en-GB" sz="900" baseline="30000" dirty="0">
                <a:solidFill>
                  <a:srgbClr val="FFFFFF">
                    <a:lumMod val="50000"/>
                  </a:srgbClr>
                </a:solidFill>
              </a:rPr>
              <a:t>1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6/03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29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01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l-PL" sz="900" dirty="0">
                <a:solidFill>
                  <a:srgbClr val="FF0000"/>
                </a:solidFill>
              </a:rPr>
              <a:t>0</a:t>
            </a:r>
            <a:r>
              <a:rPr lang="en-US" sz="900" dirty="0">
                <a:solidFill>
                  <a:srgbClr val="FF0000"/>
                </a:solidFill>
              </a:rPr>
              <a:t>4</a:t>
            </a:r>
            <a:r>
              <a:rPr lang="pl-PL" sz="900" dirty="0">
                <a:solidFill>
                  <a:srgbClr val="FF0000"/>
                </a:solidFill>
              </a:rPr>
              <a:t>/1</a:t>
            </a:r>
            <a:r>
              <a:rPr lang="en-US" sz="900" dirty="0">
                <a:solidFill>
                  <a:srgbClr val="FF0000"/>
                </a:solidFill>
              </a:rPr>
              <a:t>5</a:t>
            </a:r>
            <a:r>
              <a:rPr lang="pl-PL" sz="900" dirty="0" smtClean="0">
                <a:solidFill>
                  <a:srgbClr val="FF0000"/>
                </a:solidFill>
              </a:rPr>
              <a:t>/16</a:t>
            </a:r>
            <a:r>
              <a:rPr lang="en-US" sz="900" dirty="0" smtClean="0">
                <a:solidFill>
                  <a:srgbClr val="FF0000"/>
                </a:solidFill>
              </a:rPr>
              <a:t>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l-PL" sz="900" b="1" u="sng" dirty="0">
                <a:solidFill>
                  <a:srgbClr val="FF0000"/>
                </a:solidFill>
              </a:rPr>
              <a:t>0</a:t>
            </a:r>
            <a:r>
              <a:rPr lang="en-US" sz="900" b="1" u="sng" dirty="0">
                <a:solidFill>
                  <a:srgbClr val="FF0000"/>
                </a:solidFill>
              </a:rPr>
              <a:t>8</a:t>
            </a:r>
            <a:r>
              <a:rPr lang="pl-PL" sz="900" b="1" u="sng" dirty="0">
                <a:solidFill>
                  <a:srgbClr val="FF0000"/>
                </a:solidFill>
              </a:rPr>
              <a:t>/1</a:t>
            </a:r>
            <a:r>
              <a:rPr lang="en-US" sz="900" b="1" u="sng" dirty="0">
                <a:solidFill>
                  <a:srgbClr val="FF0000"/>
                </a:solidFill>
              </a:rPr>
              <a:t>2</a:t>
            </a:r>
            <a:r>
              <a:rPr lang="pl-PL" sz="900" b="1" u="sng" dirty="0" smtClean="0">
                <a:solidFill>
                  <a:srgbClr val="FF0000"/>
                </a:solidFill>
              </a:rPr>
              <a:t>/16</a:t>
            </a:r>
            <a:r>
              <a:rPr lang="en-US" sz="900" b="1" u="sng" dirty="0" smtClean="0">
                <a:solidFill>
                  <a:srgbClr val="FF0000"/>
                </a:solidFill>
              </a:rPr>
              <a:t>xx</a:t>
            </a:r>
            <a:endParaRPr lang="pl-PL" sz="900" b="1" u="sng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09/30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b="1" u="sng" dirty="0" smtClean="0">
                <a:solidFill>
                  <a:srgbClr val="0070C0"/>
                </a:solidFill>
              </a:rPr>
              <a:t>12/04/16xx</a:t>
            </a:r>
            <a:endParaRPr lang="pl-PL" sz="900" b="1" u="sng" dirty="0">
              <a:solidFill>
                <a:srgbClr val="0070C0"/>
              </a:solidFill>
            </a:endParaRPr>
          </a:p>
        </p:txBody>
      </p:sp>
      <p:sp>
        <p:nvSpPr>
          <p:cNvPr id="29" name="Rectangle 95"/>
          <p:cNvSpPr txBox="1">
            <a:spLocks/>
          </p:cNvSpPr>
          <p:nvPr/>
        </p:nvSpPr>
        <p:spPr>
          <a:xfrm>
            <a:off x="7360011" y="1075749"/>
            <a:ext cx="577081" cy="1651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TBC</a:t>
            </a:r>
            <a:r>
              <a:rPr lang="en-GB" sz="900" baseline="30000" dirty="0">
                <a:solidFill>
                  <a:srgbClr val="FFFFFF">
                    <a:lumMod val="50000"/>
                  </a:srgbClr>
                </a:solidFill>
              </a:rPr>
              <a:t>1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4/04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4/04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6/06/16xx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l-PL" sz="900" dirty="0">
                <a:solidFill>
                  <a:srgbClr val="000000"/>
                </a:solidFill>
              </a:rPr>
              <a:t>05/04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6/01/15</a:t>
            </a: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</a:t>
            </a:r>
            <a:r>
              <a:rPr lang="en-US" sz="900" dirty="0" smtClean="0">
                <a:solidFill>
                  <a:srgbClr val="000000"/>
                </a:solidFill>
              </a:rPr>
              <a:t>7</a:t>
            </a:r>
            <a:r>
              <a:rPr lang="pl-PL" sz="900" dirty="0" smtClean="0">
                <a:solidFill>
                  <a:srgbClr val="000000"/>
                </a:solidFill>
              </a:rPr>
              <a:t>/0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l-PL" sz="900" b="1" u="sng" dirty="0" smtClean="0">
                <a:solidFill>
                  <a:srgbClr val="0070C0"/>
                </a:solidFill>
              </a:rPr>
              <a:t>0</a:t>
            </a:r>
            <a:r>
              <a:rPr lang="en-US" sz="900" b="1" u="sng" dirty="0" smtClean="0">
                <a:solidFill>
                  <a:srgbClr val="0070C0"/>
                </a:solidFill>
              </a:rPr>
              <a:t>8</a:t>
            </a:r>
            <a:r>
              <a:rPr lang="pl-PL" sz="900" b="1" u="sng" dirty="0" smtClean="0">
                <a:solidFill>
                  <a:srgbClr val="0070C0"/>
                </a:solidFill>
              </a:rPr>
              <a:t>/0</a:t>
            </a:r>
            <a:r>
              <a:rPr lang="en-US" sz="900" b="1" u="sng" dirty="0" smtClean="0">
                <a:solidFill>
                  <a:srgbClr val="0070C0"/>
                </a:solidFill>
              </a:rPr>
              <a:t>3</a:t>
            </a:r>
            <a:r>
              <a:rPr lang="pl-PL" sz="900" b="1" u="sng" dirty="0" smtClean="0">
                <a:solidFill>
                  <a:srgbClr val="0070C0"/>
                </a:solidFill>
              </a:rPr>
              <a:t>/16</a:t>
            </a:r>
            <a:r>
              <a:rPr lang="en-US" sz="900" b="1" u="sng" dirty="0" smtClean="0">
                <a:solidFill>
                  <a:srgbClr val="0070C0"/>
                </a:solidFill>
              </a:rPr>
              <a:t>xx</a:t>
            </a:r>
            <a:endParaRPr lang="pl-PL" sz="900" b="1" u="sng" dirty="0">
              <a:solidFill>
                <a:srgbClr val="0070C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</p:txBody>
      </p:sp>
      <p:sp>
        <p:nvSpPr>
          <p:cNvPr id="31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2601032"/>
            <a:ext cx="950208" cy="34107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onitoring / Risk Reporting</a:t>
            </a:r>
          </a:p>
        </p:txBody>
      </p:sp>
      <p:sp>
        <p:nvSpPr>
          <p:cNvPr id="32" name="Rectangle 95"/>
          <p:cNvSpPr txBox="1">
            <a:spLocks/>
          </p:cNvSpPr>
          <p:nvPr/>
        </p:nvSpPr>
        <p:spPr>
          <a:xfrm>
            <a:off x="1430456" y="2601033"/>
            <a:ext cx="5841202" cy="3454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ssess current reporting landscape and make quick-win enhancements to priority reports (Board and Level 1 Risk Committees) and reporting protocol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fine target </a:t>
            </a:r>
            <a:r>
              <a:rPr lang="en-US" sz="900" dirty="0">
                <a:solidFill>
                  <a:srgbClr val="FF0000"/>
                </a:solidFill>
              </a:rPr>
              <a:t>exec. mgmt.</a:t>
            </a:r>
            <a:r>
              <a:rPr lang="en-US" sz="900" dirty="0">
                <a:solidFill>
                  <a:srgbClr val="000000"/>
                </a:solidFill>
              </a:rPr>
              <a:t> risk reporting landscape and scope of remediation (linked to committee structure</a:t>
            </a:r>
            <a:r>
              <a:rPr lang="en-US" sz="900" dirty="0" smtClean="0">
                <a:solidFill>
                  <a:srgbClr val="000000"/>
                </a:solidFill>
              </a:rPr>
              <a:t>) x</a:t>
            </a:r>
            <a:endParaRPr lang="en-US" sz="900" dirty="0">
              <a:solidFill>
                <a:srgbClr val="000000"/>
              </a:solidFill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Identify </a:t>
            </a:r>
            <a:r>
              <a:rPr lang="en-US" sz="900" dirty="0">
                <a:solidFill>
                  <a:srgbClr val="000000"/>
                </a:solidFill>
              </a:rPr>
              <a:t>risk aggregation needs and cultivate dedicated resources to manage reporting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1 of </a:t>
            </a:r>
            <a:r>
              <a:rPr lang="en-US" sz="900" dirty="0">
                <a:solidFill>
                  <a:srgbClr val="FF0000"/>
                </a:solidFill>
              </a:rPr>
              <a:t>exec. mgmt.</a:t>
            </a:r>
            <a:r>
              <a:rPr lang="en-US" sz="900" dirty="0">
                <a:solidFill>
                  <a:srgbClr val="000000"/>
                </a:solidFill>
              </a:rPr>
              <a:t> reporting </a:t>
            </a:r>
            <a:r>
              <a:rPr lang="en-US" sz="900" dirty="0" smtClean="0">
                <a:solidFill>
                  <a:srgbClr val="000000"/>
                </a:solidFill>
              </a:rPr>
              <a:t>enhancements x</a:t>
            </a:r>
            <a:endParaRPr lang="en-US" sz="900" dirty="0">
              <a:solidFill>
                <a:srgbClr val="00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Develop template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eports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for Wave 1 and socialize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oll-out of Wave 1 reports (similar process for all waves)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eview business/data requirements for interim and target state of Wave 1 reports and update as needed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dentify and document data gaps and develop remediation plan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Pilot reports using available data (manual where necessary)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ollect feedback from key stakeholders and refine report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mplement refined reports in-production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2 of </a:t>
            </a:r>
            <a:r>
              <a:rPr lang="en-US" sz="900" dirty="0">
                <a:solidFill>
                  <a:srgbClr val="FF0000"/>
                </a:solidFill>
              </a:rPr>
              <a:t>exec. mgmt. </a:t>
            </a:r>
            <a:r>
              <a:rPr lang="en-US" sz="900" dirty="0">
                <a:solidFill>
                  <a:srgbClr val="000000"/>
                </a:solidFill>
              </a:rPr>
              <a:t>reporting </a:t>
            </a:r>
            <a:r>
              <a:rPr lang="en-US" sz="900" dirty="0" smtClean="0">
                <a:solidFill>
                  <a:srgbClr val="000000"/>
                </a:solidFill>
              </a:rPr>
              <a:t>enhancements x</a:t>
            </a:r>
            <a:endParaRPr lang="en-US" sz="900" dirty="0">
              <a:solidFill>
                <a:srgbClr val="00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  <a:latin typeface="+mj-lt"/>
              </a:rPr>
              <a:t>Development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of template reports and socialization of Wave 2 (based on materiality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Roll-out of Wave 2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  <a:latin typeface="+mj-lt"/>
              </a:rPr>
              <a:t>reports </a:t>
            </a:r>
            <a:r>
              <a:rPr lang="en-US" sz="900" dirty="0">
                <a:solidFill>
                  <a:srgbClr val="707277"/>
                </a:solidFill>
                <a:latin typeface="+mj-lt"/>
              </a:rPr>
              <a:t>(similar process as Wave 1</a:t>
            </a:r>
            <a:r>
              <a:rPr lang="en-US" sz="900" dirty="0" smtClean="0">
                <a:solidFill>
                  <a:srgbClr val="707277"/>
                </a:solidFill>
                <a:latin typeface="+mj-lt"/>
              </a:rPr>
              <a:t>)</a:t>
            </a:r>
            <a:endParaRPr lang="en-US" sz="900" dirty="0">
              <a:solidFill>
                <a:srgbClr val="FFFFFF">
                  <a:lumMod val="50000"/>
                </a:srgbClr>
              </a:solidFill>
              <a:latin typeface="+mj-lt"/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3 of </a:t>
            </a:r>
            <a:r>
              <a:rPr lang="en-US" sz="900" dirty="0">
                <a:solidFill>
                  <a:srgbClr val="FF0000"/>
                </a:solidFill>
              </a:rPr>
              <a:t>exec. mgmt. </a:t>
            </a:r>
            <a:r>
              <a:rPr lang="en-US" sz="900" dirty="0">
                <a:solidFill>
                  <a:srgbClr val="000000"/>
                </a:solidFill>
              </a:rPr>
              <a:t>reporting </a:t>
            </a:r>
            <a:r>
              <a:rPr lang="en-US" sz="900" dirty="0" smtClean="0">
                <a:solidFill>
                  <a:srgbClr val="000000"/>
                </a:solidFill>
              </a:rPr>
              <a:t>enhancements x</a:t>
            </a:r>
            <a:endParaRPr lang="en-US" sz="900" dirty="0">
              <a:solidFill>
                <a:srgbClr val="00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Development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of template reports and socialization of Wave 3 (Remaining Entities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oll- out of Wave 3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eports (similar process as Wave 1)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Execute on Remediation Plans and Roll-out Enhanced Reports</a:t>
            </a: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and launch additional waves of reporting </a:t>
            </a:r>
            <a:r>
              <a:rPr lang="en-US" sz="900" dirty="0" smtClean="0"/>
              <a:t>enhancements as needed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efine data requirements/resources to enhance quality of reports</a:t>
            </a: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</a:t>
            </a:r>
            <a:r>
              <a:rPr lang="en-US" sz="900" dirty="0" smtClean="0"/>
              <a:t>quality assurance plans and controls </a:t>
            </a:r>
            <a:r>
              <a:rPr lang="en-US" sz="900" dirty="0"/>
              <a:t>for </a:t>
            </a:r>
            <a:r>
              <a:rPr lang="en-US" sz="900" dirty="0" smtClean="0"/>
              <a:t>newly enhanced reports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Assess resource needs and </a:t>
            </a:r>
            <a:r>
              <a:rPr lang="en-US" sz="900" dirty="0" smtClean="0"/>
              <a:t>implement additional </a:t>
            </a:r>
            <a:r>
              <a:rPr lang="en-US" sz="900" dirty="0"/>
              <a:t>refinements to monitoring </a:t>
            </a:r>
            <a:r>
              <a:rPr lang="en-US" sz="900" dirty="0" smtClean="0"/>
              <a:t>requirements 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25445" y="2595309"/>
            <a:ext cx="864085" cy="3467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8/1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nb-NO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9/0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1/29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9/2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23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11/09/15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01/29/16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1/02/17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3/31/17</a:t>
            </a:r>
            <a:endParaRPr lang="nb-NO" sz="900" dirty="0">
              <a:solidFill>
                <a:srgbClr val="000000"/>
              </a:solidFill>
            </a:endParaRPr>
          </a:p>
        </p:txBody>
      </p:sp>
      <p:sp>
        <p:nvSpPr>
          <p:cNvPr id="37" name="Rectangle 95"/>
          <p:cNvSpPr txBox="1">
            <a:spLocks/>
          </p:cNvSpPr>
          <p:nvPr/>
        </p:nvSpPr>
        <p:spPr>
          <a:xfrm>
            <a:off x="7360011" y="2595309"/>
            <a:ext cx="577081" cy="3467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6/15/15</a:t>
            </a: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7/2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09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2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12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4/01/16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38" name="Rectangle 95"/>
          <p:cNvSpPr txBox="1">
            <a:spLocks/>
          </p:cNvSpPr>
          <p:nvPr/>
        </p:nvSpPr>
        <p:spPr>
          <a:xfrm>
            <a:off x="8977882" y="2601033"/>
            <a:ext cx="913369" cy="3467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</a:t>
            </a:r>
            <a:r>
              <a:rPr lang="pt-BR" sz="900" dirty="0" smtClean="0">
                <a:solidFill>
                  <a:srgbClr val="000000"/>
                </a:solidFill>
              </a:rPr>
              <a:t>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414385" y="2562016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0" name="Group 39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43" name="Freeform 42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33" name="Rectangle 95"/>
          <p:cNvSpPr txBox="1">
            <a:spLocks/>
          </p:cNvSpPr>
          <p:nvPr/>
        </p:nvSpPr>
        <p:spPr>
          <a:xfrm>
            <a:off x="9004279" y="1075749"/>
            <a:ext cx="1080867" cy="1577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800" dirty="0">
                <a:solidFill>
                  <a:srgbClr val="000000"/>
                </a:solidFill>
              </a:rPr>
              <a:t>J. Hennessy</a:t>
            </a:r>
            <a:r>
              <a:rPr lang="pt-BR" sz="600" dirty="0">
                <a:solidFill>
                  <a:srgbClr val="000000"/>
                </a:solidFill>
              </a:rPr>
              <a:t> </a:t>
            </a:r>
            <a:r>
              <a:rPr lang="pt-BR" sz="800" dirty="0">
                <a:solidFill>
                  <a:srgbClr val="000000"/>
                </a:solidFill>
              </a:rPr>
              <a:t>/</a:t>
            </a:r>
            <a:r>
              <a:rPr lang="pt-BR" sz="600" dirty="0">
                <a:solidFill>
                  <a:srgbClr val="000000"/>
                </a:solidFill>
              </a:rPr>
              <a:t> </a:t>
            </a:r>
            <a:r>
              <a:rPr lang="pt-BR" sz="800" dirty="0" smtClean="0">
                <a:solidFill>
                  <a:srgbClr val="000000"/>
                </a:solidFill>
              </a:rPr>
              <a:t>E.Smith</a:t>
            </a:r>
            <a:endParaRPr lang="pt-BR" sz="8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endParaRPr lang="pt-BR" sz="800" dirty="0" smtClean="0">
              <a:solidFill>
                <a:srgbClr val="0070C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800" b="1" u="sng" dirty="0" smtClean="0">
                <a:solidFill>
                  <a:srgbClr val="0070C0"/>
                </a:solidFill>
              </a:rPr>
              <a:t>J</a:t>
            </a:r>
            <a:r>
              <a:rPr lang="pt-BR" sz="800" b="1" u="sng" dirty="0">
                <a:solidFill>
                  <a:srgbClr val="0070C0"/>
                </a:solidFill>
              </a:rPr>
              <a:t>. </a:t>
            </a:r>
            <a:r>
              <a:rPr lang="pt-BR" sz="800" b="1" u="sng" dirty="0" smtClean="0">
                <a:solidFill>
                  <a:srgbClr val="0070C0"/>
                </a:solidFill>
              </a:rPr>
              <a:t>Hennessy</a:t>
            </a:r>
            <a:r>
              <a:rPr lang="pt-BR" sz="600" b="1" u="sng" dirty="0" smtClean="0">
                <a:solidFill>
                  <a:srgbClr val="0070C0"/>
                </a:solidFill>
              </a:rPr>
              <a:t> </a:t>
            </a:r>
            <a:r>
              <a:rPr lang="pt-BR" sz="800" b="1" u="sng" dirty="0" smtClean="0">
                <a:solidFill>
                  <a:srgbClr val="0070C0"/>
                </a:solidFill>
              </a:rPr>
              <a:t>/</a:t>
            </a:r>
            <a:r>
              <a:rPr lang="pt-BR" sz="600" b="1" u="sng" dirty="0" smtClean="0">
                <a:solidFill>
                  <a:srgbClr val="0070C0"/>
                </a:solidFill>
              </a:rPr>
              <a:t> </a:t>
            </a:r>
            <a:r>
              <a:rPr lang="pt-BR" sz="800" b="1" u="sng" dirty="0" smtClean="0">
                <a:solidFill>
                  <a:srgbClr val="0070C0"/>
                </a:solidFill>
              </a:rPr>
              <a:t>E.Smithx</a:t>
            </a:r>
            <a:endParaRPr lang="pt-BR" sz="800" b="1" u="sng" dirty="0">
              <a:solidFill>
                <a:srgbClr val="0070C0"/>
              </a:solidFill>
            </a:endParaRPr>
          </a:p>
        </p:txBody>
      </p:sp>
      <p:sp>
        <p:nvSpPr>
          <p:cNvPr id="30" name="Rectangle 3"/>
          <p:cNvSpPr txBox="1"/>
          <p:nvPr/>
        </p:nvSpPr>
        <p:spPr>
          <a:xfrm>
            <a:off x="280988" y="6044620"/>
            <a:ext cx="9493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/>
              <a:t>1 </a:t>
            </a:r>
            <a:r>
              <a:rPr lang="en-US" sz="900" dirty="0" smtClean="0"/>
              <a:t>Refer to Model Development and Model Risk Management </a:t>
            </a:r>
            <a:r>
              <a:rPr lang="en-US" sz="900" dirty="0" err="1" smtClean="0"/>
              <a:t>workstreams</a:t>
            </a:r>
            <a:r>
              <a:rPr lang="en-US" sz="900" dirty="0" smtClean="0"/>
              <a:t> for relevant dates on development and validation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8931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Saptarshi Ganguly\Desktop\FED letter\20150710 v1030 - CART program execution plan summary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qXwf.KYUeKB5c4AILn0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nN0TxO0qCgNAtNxzN9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U8etwN4kuO3xHr6hW5O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VwICZpX0C13btmeMEr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JGx4QhQkCw8LQbW3Rpo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Xx7aiJ_UuLlOnsY5ZCN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E5_gvFyk.zlmJuw7lJO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eLIzsS8keCPK0XsVnv7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AsxEHkJ0OYUWjMmn3vY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MIBZ8N0UGGEqCGWZ3bf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Santander_CF_HCS25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0000"/>
      </a:accent1>
      <a:accent2>
        <a:srgbClr val="FAAF25"/>
      </a:accent2>
      <a:accent3>
        <a:srgbClr val="000000"/>
      </a:accent3>
      <a:accent4>
        <a:srgbClr val="969696"/>
      </a:accent4>
      <a:accent5>
        <a:srgbClr val="770000"/>
      </a:accent5>
      <a:accent6>
        <a:srgbClr val="808080"/>
      </a:accent6>
      <a:hlink>
        <a:srgbClr val="0000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AAF25"/>
        </a:accent2>
        <a:accent3>
          <a:srgbClr val="000000"/>
        </a:accent3>
        <a:accent4>
          <a:srgbClr val="969696"/>
        </a:accent4>
        <a:accent5>
          <a:srgbClr val="770000"/>
        </a:accent5>
        <a:accent6>
          <a:srgbClr val="808080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2410</Words>
  <Application>Microsoft Office PowerPoint</Application>
  <PresentationFormat>35mm Slides</PresentationFormat>
  <Paragraphs>590</Paragraphs>
  <Slides>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8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Santander_CF_HCS255</vt:lpstr>
      <vt:lpstr>think-cell Slide</vt:lpstr>
      <vt:lpstr>Contents</vt:lpstr>
      <vt:lpstr>Risk Transformation - Summary</vt:lpstr>
      <vt:lpstr>Risk Transformation: Project Plan (1/4)</vt:lpstr>
      <vt:lpstr>Risk Transformation: Project Plan (2/4)</vt:lpstr>
      <vt:lpstr>Risk Transformation: Project Plan (3/4)</vt:lpstr>
      <vt:lpstr>Risk Transformation: Project Plan (4/4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14T18:3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